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84" r:id="rId2"/>
    <p:sldId id="288" r:id="rId3"/>
    <p:sldId id="287" r:id="rId4"/>
    <p:sldId id="291" r:id="rId5"/>
    <p:sldId id="300" r:id="rId6"/>
    <p:sldId id="301" r:id="rId7"/>
    <p:sldId id="293" r:id="rId8"/>
    <p:sldId id="302" r:id="rId9"/>
    <p:sldId id="294" r:id="rId10"/>
    <p:sldId id="295" r:id="rId11"/>
    <p:sldId id="303" r:id="rId12"/>
    <p:sldId id="296" r:id="rId13"/>
    <p:sldId id="304" r:id="rId14"/>
    <p:sldId id="305" r:id="rId15"/>
    <p:sldId id="299" r:id="rId16"/>
    <p:sldId id="290" r:id="rId1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62" d="100"/>
          <a:sy n="62" d="100"/>
        </p:scale>
        <p:origin x="75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BCA6AE8-9545-3144-8A66-9CDFED58E174}" type="doc">
      <dgm:prSet loTypeId="urn:microsoft.com/office/officeart/2005/8/layout/orgChart1" loCatId="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de-DE"/>
        </a:p>
      </dgm:t>
    </dgm:pt>
    <dgm:pt modelId="{4B03A5B3-FB87-E943-A2B3-32FB77D75D04}">
      <dgm:prSet phldrT="[Text]" custT="1"/>
      <dgm:spPr/>
      <dgm:t>
        <a:bodyPr/>
        <a:lstStyle/>
        <a:p>
          <a:r>
            <a:rPr lang="de-DE" sz="1050" b="1" dirty="0"/>
            <a:t>OVT </a:t>
          </a:r>
        </a:p>
      </dgm:t>
    </dgm:pt>
    <dgm:pt modelId="{42C44630-0D9C-2347-8557-8F246C36DCFC}" type="parTrans" cxnId="{F7736127-E397-1D46-B5C6-D22B986E0447}">
      <dgm:prSet/>
      <dgm:spPr/>
      <dgm:t>
        <a:bodyPr/>
        <a:lstStyle/>
        <a:p>
          <a:endParaRPr lang="de-DE"/>
        </a:p>
      </dgm:t>
    </dgm:pt>
    <dgm:pt modelId="{17BAC14E-0FEA-7A47-B6BC-FC5867084974}" type="sibTrans" cxnId="{F7736127-E397-1D46-B5C6-D22B986E0447}">
      <dgm:prSet/>
      <dgm:spPr/>
      <dgm:t>
        <a:bodyPr/>
        <a:lstStyle/>
        <a:p>
          <a:endParaRPr lang="de-DE"/>
        </a:p>
      </dgm:t>
    </dgm:pt>
    <dgm:pt modelId="{949591D1-14AD-2542-9F4A-86E0278F66F4}">
      <dgm:prSet phldrT="[Text]" custT="1"/>
      <dgm:spPr/>
      <dgm:t>
        <a:bodyPr/>
        <a:lstStyle/>
        <a:p>
          <a:r>
            <a:rPr lang="de-DE" sz="1050" b="1" dirty="0"/>
            <a:t>1.Datenbankverbindung</a:t>
          </a:r>
        </a:p>
      </dgm:t>
    </dgm:pt>
    <dgm:pt modelId="{2EE59AA3-FCD3-3146-B894-942FC4165489}" type="parTrans" cxnId="{46A1E3A4-9138-2B4B-B791-BAFC1607FFD8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 sz="1400">
            <a:solidFill>
              <a:schemeClr val="bg1"/>
            </a:solidFill>
          </a:endParaRPr>
        </a:p>
      </dgm:t>
    </dgm:pt>
    <dgm:pt modelId="{7B78BBCB-6EAA-9E42-9FD0-7F92A221D35E}" type="sibTrans" cxnId="{46A1E3A4-9138-2B4B-B791-BAFC1607FFD8}">
      <dgm:prSet/>
      <dgm:spPr/>
      <dgm:t>
        <a:bodyPr/>
        <a:lstStyle/>
        <a:p>
          <a:endParaRPr lang="de-DE"/>
        </a:p>
      </dgm:t>
    </dgm:pt>
    <dgm:pt modelId="{A3F9823F-838C-4343-A97D-8142E2F62423}">
      <dgm:prSet phldrT="[Text]" custT="1"/>
      <dgm:spPr/>
      <dgm:t>
        <a:bodyPr/>
        <a:lstStyle/>
        <a:p>
          <a:r>
            <a:rPr lang="de-DE" sz="1050" b="1" dirty="0"/>
            <a:t>4.Funktionen</a:t>
          </a:r>
        </a:p>
      </dgm:t>
    </dgm:pt>
    <dgm:pt modelId="{49B6E850-214B-9442-95AB-095967991A45}" type="parTrans" cxnId="{B207E000-ED6C-7F4B-8D33-CC730242C3C2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 sz="1400">
            <a:solidFill>
              <a:schemeClr val="bg1"/>
            </a:solidFill>
          </a:endParaRPr>
        </a:p>
      </dgm:t>
    </dgm:pt>
    <dgm:pt modelId="{BA87AA99-05A4-5646-8B0D-76C9B2B39975}" type="sibTrans" cxnId="{B207E000-ED6C-7F4B-8D33-CC730242C3C2}">
      <dgm:prSet/>
      <dgm:spPr/>
      <dgm:t>
        <a:bodyPr/>
        <a:lstStyle/>
        <a:p>
          <a:endParaRPr lang="de-DE"/>
        </a:p>
      </dgm:t>
    </dgm:pt>
    <dgm:pt modelId="{04BC444A-E1B9-8E4A-A964-4EB03434DB6D}">
      <dgm:prSet phldrT="[Text]" custT="1"/>
      <dgm:spPr/>
      <dgm:t>
        <a:bodyPr/>
        <a:lstStyle/>
        <a:p>
          <a:r>
            <a:rPr lang="de-DE" sz="1050" b="1" dirty="0"/>
            <a:t>5.Druckfunktion</a:t>
          </a:r>
        </a:p>
      </dgm:t>
    </dgm:pt>
    <dgm:pt modelId="{79787822-7512-9246-9CE1-DFABE1960CF9}" type="parTrans" cxnId="{5264704E-FE4F-7B47-914D-9AA4B8CC44DA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 sz="1400">
            <a:solidFill>
              <a:schemeClr val="bg1"/>
            </a:solidFill>
          </a:endParaRPr>
        </a:p>
      </dgm:t>
    </dgm:pt>
    <dgm:pt modelId="{F8C6CB58-DF94-B64A-BA5E-C7B8CD29F859}" type="sibTrans" cxnId="{5264704E-FE4F-7B47-914D-9AA4B8CC44DA}">
      <dgm:prSet/>
      <dgm:spPr/>
      <dgm:t>
        <a:bodyPr/>
        <a:lstStyle/>
        <a:p>
          <a:endParaRPr lang="de-DE"/>
        </a:p>
      </dgm:t>
    </dgm:pt>
    <dgm:pt modelId="{1A5BC874-2F1F-024E-BA93-F15D5B41694D}">
      <dgm:prSet phldrT="[Text]" custT="1"/>
      <dgm:spPr/>
      <dgm:t>
        <a:bodyPr/>
        <a:lstStyle/>
        <a:p>
          <a:r>
            <a:rPr lang="de-DE" sz="1050" b="1" dirty="0"/>
            <a:t>1.1.Implemetierung psycopg2</a:t>
          </a:r>
        </a:p>
      </dgm:t>
    </dgm:pt>
    <dgm:pt modelId="{E8DE3320-0523-4F4C-8B5C-5941C508318C}" type="parTrans" cxnId="{E2C8D9FB-E923-8C46-9690-8862045B12F9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 sz="1400">
            <a:solidFill>
              <a:schemeClr val="bg1"/>
            </a:solidFill>
          </a:endParaRPr>
        </a:p>
      </dgm:t>
    </dgm:pt>
    <dgm:pt modelId="{2C82F753-88F3-D345-9220-B33B97342E24}" type="sibTrans" cxnId="{E2C8D9FB-E923-8C46-9690-8862045B12F9}">
      <dgm:prSet/>
      <dgm:spPr/>
      <dgm:t>
        <a:bodyPr/>
        <a:lstStyle/>
        <a:p>
          <a:endParaRPr lang="de-DE"/>
        </a:p>
      </dgm:t>
    </dgm:pt>
    <dgm:pt modelId="{E191B97A-B041-9947-83C4-908D7C8BBB14}">
      <dgm:prSet phldrT="[Text]" custT="1"/>
      <dgm:spPr/>
      <dgm:t>
        <a:bodyPr/>
        <a:lstStyle/>
        <a:p>
          <a:r>
            <a:rPr lang="de-DE" sz="1050" b="1" dirty="0"/>
            <a:t>4.1.Bearbeiten</a:t>
          </a:r>
        </a:p>
      </dgm:t>
    </dgm:pt>
    <dgm:pt modelId="{E391B6A1-AEB1-A946-B6F4-15EE7EBF19CC}" type="parTrans" cxnId="{6E682F33-5863-0041-B9C7-DC1BFDEC6F6F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 sz="1400">
            <a:solidFill>
              <a:schemeClr val="bg1"/>
            </a:solidFill>
          </a:endParaRPr>
        </a:p>
      </dgm:t>
    </dgm:pt>
    <dgm:pt modelId="{7DFCB414-A2FF-B44E-ACAE-30E3C1B1571B}" type="sibTrans" cxnId="{6E682F33-5863-0041-B9C7-DC1BFDEC6F6F}">
      <dgm:prSet/>
      <dgm:spPr/>
      <dgm:t>
        <a:bodyPr/>
        <a:lstStyle/>
        <a:p>
          <a:endParaRPr lang="de-DE"/>
        </a:p>
      </dgm:t>
    </dgm:pt>
    <dgm:pt modelId="{53E58CF6-F6B9-C246-939E-2AC2872A65D9}">
      <dgm:prSet phldrT="[Text]" custT="1"/>
      <dgm:spPr/>
      <dgm:t>
        <a:bodyPr/>
        <a:lstStyle/>
        <a:p>
          <a:r>
            <a:rPr lang="de-DE" sz="1050" b="1" dirty="0"/>
            <a:t>5.4.Anbindung an den Drucker</a:t>
          </a:r>
        </a:p>
      </dgm:t>
    </dgm:pt>
    <dgm:pt modelId="{7E468725-C28B-9E4E-B066-E9BB7266AF33}" type="parTrans" cxnId="{D8C6026C-F945-364D-BA65-18B193A2803D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 sz="1400">
            <a:solidFill>
              <a:schemeClr val="bg1"/>
            </a:solidFill>
          </a:endParaRPr>
        </a:p>
      </dgm:t>
    </dgm:pt>
    <dgm:pt modelId="{40630DBD-7802-8E44-90CA-F60F4408C980}" type="sibTrans" cxnId="{D8C6026C-F945-364D-BA65-18B193A2803D}">
      <dgm:prSet/>
      <dgm:spPr/>
      <dgm:t>
        <a:bodyPr/>
        <a:lstStyle/>
        <a:p>
          <a:endParaRPr lang="de-DE"/>
        </a:p>
      </dgm:t>
    </dgm:pt>
    <dgm:pt modelId="{14BC58BE-FE75-9345-BE8E-43DC45CC8166}">
      <dgm:prSet phldrT="[Text]" custT="1"/>
      <dgm:spPr/>
      <dgm:t>
        <a:bodyPr/>
        <a:lstStyle/>
        <a:p>
          <a:r>
            <a:rPr lang="de-DE" sz="1050" b="1" dirty="0"/>
            <a:t>1.2.Projekteinstellungen konfigurieren</a:t>
          </a:r>
        </a:p>
      </dgm:t>
    </dgm:pt>
    <dgm:pt modelId="{AFF9F6A4-93E9-104D-92AF-B24E8C596ADC}" type="parTrans" cxnId="{8063FDB4-172B-6D47-A8AC-CAA3364F2192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5815B84B-4DBD-6C47-BAB7-1C8A63E4FA82}" type="sibTrans" cxnId="{8063FDB4-172B-6D47-A8AC-CAA3364F2192}">
      <dgm:prSet/>
      <dgm:spPr/>
      <dgm:t>
        <a:bodyPr/>
        <a:lstStyle/>
        <a:p>
          <a:endParaRPr lang="de-DE"/>
        </a:p>
      </dgm:t>
    </dgm:pt>
    <dgm:pt modelId="{2DB4DE04-B90B-C745-ACAB-A8AAA0D2FFC2}">
      <dgm:prSet phldrT="[Text]" custT="1"/>
      <dgm:spPr/>
      <dgm:t>
        <a:bodyPr/>
        <a:lstStyle/>
        <a:p>
          <a:r>
            <a:rPr lang="de-DE" sz="1050" b="1" dirty="0"/>
            <a:t>1.3.Tabellen modellieren</a:t>
          </a:r>
        </a:p>
      </dgm:t>
    </dgm:pt>
    <dgm:pt modelId="{AF796AB1-6898-2642-99F2-B1F28BBEC8DB}" type="parTrans" cxnId="{EC745719-DB48-954C-9A65-8EF969CF3E61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7CE4EBAD-28D5-D540-A289-71197456EA9F}" type="sibTrans" cxnId="{EC745719-DB48-954C-9A65-8EF969CF3E61}">
      <dgm:prSet/>
      <dgm:spPr/>
      <dgm:t>
        <a:bodyPr/>
        <a:lstStyle/>
        <a:p>
          <a:endParaRPr lang="de-DE"/>
        </a:p>
      </dgm:t>
    </dgm:pt>
    <dgm:pt modelId="{EE56964C-2269-7748-90FD-F2FBF07C90D0}">
      <dgm:prSet phldrT="[Text]" custT="1"/>
      <dgm:spPr/>
      <dgm:t>
        <a:bodyPr/>
        <a:lstStyle/>
        <a:p>
          <a:r>
            <a:rPr lang="de-DE" sz="1050" b="1" dirty="0"/>
            <a:t>5.1.1.QR-Code-Generierung</a:t>
          </a:r>
        </a:p>
      </dgm:t>
    </dgm:pt>
    <dgm:pt modelId="{B89912AD-E264-3345-A114-98D2DAA7A207}" type="parTrans" cxnId="{945BC0E0-EE03-F24E-B858-DA4215E51E29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64E6CCBC-9B1F-AD44-9BD1-B80B57FFD397}" type="sibTrans" cxnId="{945BC0E0-EE03-F24E-B858-DA4215E51E29}">
      <dgm:prSet/>
      <dgm:spPr/>
      <dgm:t>
        <a:bodyPr/>
        <a:lstStyle/>
        <a:p>
          <a:endParaRPr lang="de-DE"/>
        </a:p>
      </dgm:t>
    </dgm:pt>
    <dgm:pt modelId="{9254A6CA-3717-7641-BA17-B73E2456F946}">
      <dgm:prSet phldrT="[Text]" custT="1"/>
      <dgm:spPr/>
      <dgm:t>
        <a:bodyPr/>
        <a:lstStyle/>
        <a:p>
          <a:r>
            <a:rPr lang="de-DE" sz="1050" b="1" dirty="0"/>
            <a:t>5.1.Parkausweisgenerierung</a:t>
          </a:r>
        </a:p>
      </dgm:t>
    </dgm:pt>
    <dgm:pt modelId="{CE49BCE0-ED8B-C348-9211-B034405C5804}" type="parTrans" cxnId="{9A0B26EE-EC1F-0A47-BD32-A0B4617DFFD6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8D1106B7-103C-B040-B71A-EB796A30C28D}" type="sibTrans" cxnId="{9A0B26EE-EC1F-0A47-BD32-A0B4617DFFD6}">
      <dgm:prSet/>
      <dgm:spPr/>
      <dgm:t>
        <a:bodyPr/>
        <a:lstStyle/>
        <a:p>
          <a:endParaRPr lang="de-DE"/>
        </a:p>
      </dgm:t>
    </dgm:pt>
    <dgm:pt modelId="{3A3025F5-94BA-46B6-8845-3EB1232C4401}">
      <dgm:prSet custT="1"/>
      <dgm:spPr/>
      <dgm:t>
        <a:bodyPr/>
        <a:lstStyle/>
        <a:p>
          <a:r>
            <a:rPr lang="de-DE" sz="1050" b="1" dirty="0"/>
            <a:t>2.Parkausweistemplate</a:t>
          </a:r>
        </a:p>
      </dgm:t>
    </dgm:pt>
    <dgm:pt modelId="{08F6CE2D-63F3-4679-858D-BDB22BC58819}" type="parTrans" cxnId="{1B5340C6-8836-4F98-8574-4668EA7D2B8E}">
      <dgm:prSet/>
      <dgm:spPr/>
      <dgm:t>
        <a:bodyPr/>
        <a:lstStyle/>
        <a:p>
          <a:endParaRPr lang="de-DE"/>
        </a:p>
      </dgm:t>
    </dgm:pt>
    <dgm:pt modelId="{A3223CC7-2BC0-4170-BD48-2AE62835359C}" type="sibTrans" cxnId="{1B5340C6-8836-4F98-8574-4668EA7D2B8E}">
      <dgm:prSet/>
      <dgm:spPr/>
      <dgm:t>
        <a:bodyPr/>
        <a:lstStyle/>
        <a:p>
          <a:endParaRPr lang="de-DE"/>
        </a:p>
      </dgm:t>
    </dgm:pt>
    <dgm:pt modelId="{0A7EB5B1-E2BF-42FA-97CE-A1ED28BC3CBD}">
      <dgm:prSet custT="1"/>
      <dgm:spPr/>
      <dgm:t>
        <a:bodyPr/>
        <a:lstStyle/>
        <a:p>
          <a:r>
            <a:rPr lang="de-DE" sz="1050" b="1" dirty="0"/>
            <a:t>3.Oberfläche</a:t>
          </a:r>
        </a:p>
      </dgm:t>
    </dgm:pt>
    <dgm:pt modelId="{A3E73386-B948-493F-902A-AE5680C8ADCA}" type="parTrans" cxnId="{A4745439-ED38-4755-998B-3A19656DF245}">
      <dgm:prSet/>
      <dgm:spPr/>
      <dgm:t>
        <a:bodyPr/>
        <a:lstStyle/>
        <a:p>
          <a:endParaRPr lang="de-DE"/>
        </a:p>
      </dgm:t>
    </dgm:pt>
    <dgm:pt modelId="{3707D7C4-FA64-4434-89C0-4F763F2DCCDD}" type="sibTrans" cxnId="{A4745439-ED38-4755-998B-3A19656DF245}">
      <dgm:prSet/>
      <dgm:spPr/>
      <dgm:t>
        <a:bodyPr/>
        <a:lstStyle/>
        <a:p>
          <a:endParaRPr lang="de-DE"/>
        </a:p>
      </dgm:t>
    </dgm:pt>
    <dgm:pt modelId="{5DA6EAB2-AA01-41BE-B15E-968132EAC57C}">
      <dgm:prSet custT="1"/>
      <dgm:spPr/>
      <dgm:t>
        <a:bodyPr/>
        <a:lstStyle/>
        <a:p>
          <a:r>
            <a:rPr lang="de-DE" sz="1050" b="1" dirty="0"/>
            <a:t>2.1.Konzeptionierung des Designs</a:t>
          </a:r>
        </a:p>
      </dgm:t>
    </dgm:pt>
    <dgm:pt modelId="{B3B53615-DAC2-4458-B26B-439DC4DE5620}" type="parTrans" cxnId="{BAD01E8E-4695-49E1-91E8-33CCA291382C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C789B0D2-14FA-45DA-A8CA-6B490F1CFD69}" type="sibTrans" cxnId="{BAD01E8E-4695-49E1-91E8-33CCA291382C}">
      <dgm:prSet/>
      <dgm:spPr/>
      <dgm:t>
        <a:bodyPr/>
        <a:lstStyle/>
        <a:p>
          <a:endParaRPr lang="de-DE"/>
        </a:p>
      </dgm:t>
    </dgm:pt>
    <dgm:pt modelId="{6B4F8E05-6BF6-453E-A2D8-F1D1826AD558}">
      <dgm:prSet custT="1"/>
      <dgm:spPr/>
      <dgm:t>
        <a:bodyPr/>
        <a:lstStyle/>
        <a:p>
          <a:r>
            <a:rPr lang="de-DE" sz="1050" b="1" dirty="0"/>
            <a:t>3.1.Loginmaske</a:t>
          </a:r>
        </a:p>
      </dgm:t>
    </dgm:pt>
    <dgm:pt modelId="{F9089EC7-3A4D-4DD1-8DC8-0D58064DAA33}" type="parTrans" cxnId="{8BF42E92-DC2A-44C0-9CC1-09298B62BF8E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B54ABA5D-C2CF-44DB-8AA6-4B59DBE7F377}" type="sibTrans" cxnId="{8BF42E92-DC2A-44C0-9CC1-09298B62BF8E}">
      <dgm:prSet/>
      <dgm:spPr/>
      <dgm:t>
        <a:bodyPr/>
        <a:lstStyle/>
        <a:p>
          <a:endParaRPr lang="de-DE"/>
        </a:p>
      </dgm:t>
    </dgm:pt>
    <dgm:pt modelId="{EE5A2023-68A4-4824-903B-00DD4AD28923}">
      <dgm:prSet custT="1"/>
      <dgm:spPr/>
      <dgm:t>
        <a:bodyPr/>
        <a:lstStyle/>
        <a:p>
          <a:r>
            <a:rPr lang="de-DE" sz="1050" b="1" dirty="0"/>
            <a:t>3.3.Overview mit Schülerdaten</a:t>
          </a:r>
        </a:p>
      </dgm:t>
    </dgm:pt>
    <dgm:pt modelId="{4AB5B305-30F4-40A4-92C9-9615C4F0ABB0}" type="parTrans" cxnId="{B4AF8DCD-5ABE-4164-B89F-DF853FD8FF3A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1CB1E7AD-418D-4644-8112-5257B2DE9796}" type="sibTrans" cxnId="{B4AF8DCD-5ABE-4164-B89F-DF853FD8FF3A}">
      <dgm:prSet/>
      <dgm:spPr/>
      <dgm:t>
        <a:bodyPr/>
        <a:lstStyle/>
        <a:p>
          <a:endParaRPr lang="de-DE"/>
        </a:p>
      </dgm:t>
    </dgm:pt>
    <dgm:pt modelId="{3411EA7A-E3D0-4123-B527-1468265BD6D8}">
      <dgm:prSet custT="1"/>
      <dgm:spPr/>
      <dgm:t>
        <a:bodyPr/>
        <a:lstStyle/>
        <a:p>
          <a:r>
            <a:rPr lang="de-DE" sz="1050" b="1" dirty="0"/>
            <a:t>3.4.Popup für Bearbeitung der Daten</a:t>
          </a:r>
        </a:p>
      </dgm:t>
    </dgm:pt>
    <dgm:pt modelId="{AD001CC4-F8AF-4132-94D9-39FC09E93C17}" type="parTrans" cxnId="{CA5EB839-85E5-4583-AD40-6DEFB11A2AD4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DE71D3A3-0B0B-48E0-BA1F-D4509EF1F42C}" type="sibTrans" cxnId="{CA5EB839-85E5-4583-AD40-6DEFB11A2AD4}">
      <dgm:prSet/>
      <dgm:spPr/>
      <dgm:t>
        <a:bodyPr/>
        <a:lstStyle/>
        <a:p>
          <a:endParaRPr lang="de-DE"/>
        </a:p>
      </dgm:t>
    </dgm:pt>
    <dgm:pt modelId="{5AF21C8B-D982-49EB-A6A3-A55EBAD5AE2B}">
      <dgm:prSet custT="1"/>
      <dgm:spPr/>
      <dgm:t>
        <a:bodyPr/>
        <a:lstStyle/>
        <a:p>
          <a:r>
            <a:rPr lang="de-DE" sz="1050" b="1" dirty="0"/>
            <a:t>4.4.Neu erstellen</a:t>
          </a:r>
        </a:p>
      </dgm:t>
    </dgm:pt>
    <dgm:pt modelId="{9FC190B7-6B8E-4A06-9DC2-A7B027F62C58}" type="parTrans" cxnId="{7D360A7C-A32B-4FBA-B38D-7476EB840188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79E9A20A-606E-4BBA-83EC-1846573FBB01}" type="sibTrans" cxnId="{7D360A7C-A32B-4FBA-B38D-7476EB840188}">
      <dgm:prSet/>
      <dgm:spPr/>
      <dgm:t>
        <a:bodyPr/>
        <a:lstStyle/>
        <a:p>
          <a:endParaRPr lang="de-DE"/>
        </a:p>
      </dgm:t>
    </dgm:pt>
    <dgm:pt modelId="{A1D00132-0F7F-4860-8ABC-0F1C4AF94B55}">
      <dgm:prSet custT="1"/>
      <dgm:spPr/>
      <dgm:t>
        <a:bodyPr/>
        <a:lstStyle/>
        <a:p>
          <a:r>
            <a:rPr lang="de-DE" sz="1050" b="1" dirty="0"/>
            <a:t>4.5.Löschen</a:t>
          </a:r>
        </a:p>
      </dgm:t>
    </dgm:pt>
    <dgm:pt modelId="{A7209149-BD45-4FDC-AB1E-153FB4CA39D2}" type="parTrans" cxnId="{D86DDEF4-9B8D-46A6-B927-8D5B207D3C9F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45E0185C-2FF1-4203-88E6-0D6B2549047D}" type="sibTrans" cxnId="{D86DDEF4-9B8D-46A6-B927-8D5B207D3C9F}">
      <dgm:prSet/>
      <dgm:spPr/>
      <dgm:t>
        <a:bodyPr/>
        <a:lstStyle/>
        <a:p>
          <a:endParaRPr lang="de-DE"/>
        </a:p>
      </dgm:t>
    </dgm:pt>
    <dgm:pt modelId="{01829183-B8B9-4354-B608-9695EE72AF39}">
      <dgm:prSet custT="1"/>
      <dgm:spPr/>
      <dgm:t>
        <a:bodyPr/>
        <a:lstStyle/>
        <a:p>
          <a:r>
            <a:rPr lang="de-DE" sz="1050" b="1" dirty="0"/>
            <a:t>6.1.Login-Prozess</a:t>
          </a:r>
        </a:p>
      </dgm:t>
    </dgm:pt>
    <dgm:pt modelId="{D8C50167-FE24-49D7-B6E4-9D0FF346663E}" type="parTrans" cxnId="{C52BA019-1395-4F46-84D8-7CAA1A1CCE03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EAB1890D-3C71-428D-9BE2-445665793791}" type="sibTrans" cxnId="{C52BA019-1395-4F46-84D8-7CAA1A1CCE03}">
      <dgm:prSet/>
      <dgm:spPr/>
      <dgm:t>
        <a:bodyPr/>
        <a:lstStyle/>
        <a:p>
          <a:endParaRPr lang="de-DE"/>
        </a:p>
      </dgm:t>
    </dgm:pt>
    <dgm:pt modelId="{58817A83-1B54-4E32-8A1F-9175C28AC93B}">
      <dgm:prSet custT="1"/>
      <dgm:spPr/>
      <dgm:t>
        <a:bodyPr/>
        <a:lstStyle/>
        <a:p>
          <a:r>
            <a:rPr lang="de-DE" sz="1050" b="1" dirty="0"/>
            <a:t>6.2.Klassenansicht</a:t>
          </a:r>
        </a:p>
      </dgm:t>
    </dgm:pt>
    <dgm:pt modelId="{97BE7EB9-9115-41B7-820B-B230C1477646}" type="parTrans" cxnId="{DED723E1-A45C-4A15-881E-CA4B6960CC2A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BE27689A-CA7B-45EC-8883-021041016F1C}" type="sibTrans" cxnId="{DED723E1-A45C-4A15-881E-CA4B6960CC2A}">
      <dgm:prSet/>
      <dgm:spPr/>
      <dgm:t>
        <a:bodyPr/>
        <a:lstStyle/>
        <a:p>
          <a:endParaRPr lang="de-DE"/>
        </a:p>
      </dgm:t>
    </dgm:pt>
    <dgm:pt modelId="{DA854E58-5D3C-498D-993C-5EF5B2611F8F}">
      <dgm:prSet custT="1"/>
      <dgm:spPr/>
      <dgm:t>
        <a:bodyPr/>
        <a:lstStyle/>
        <a:p>
          <a:r>
            <a:rPr lang="de-DE" sz="1050" b="1" dirty="0"/>
            <a:t>5.1.1.1.QR-Code-Logik festlegen</a:t>
          </a:r>
        </a:p>
      </dgm:t>
    </dgm:pt>
    <dgm:pt modelId="{CAF2109D-8343-454A-A2B5-32540F643F75}" type="parTrans" cxnId="{489613DA-CEB6-458C-A9F9-A0441695749B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BC87DEDA-E1EE-48AD-A114-3713E65997E7}" type="sibTrans" cxnId="{489613DA-CEB6-458C-A9F9-A0441695749B}">
      <dgm:prSet/>
      <dgm:spPr/>
      <dgm:t>
        <a:bodyPr/>
        <a:lstStyle/>
        <a:p>
          <a:endParaRPr lang="de-DE"/>
        </a:p>
      </dgm:t>
    </dgm:pt>
    <dgm:pt modelId="{4A6E924C-2F52-49E6-A1CC-7CF90D4EF4D6}">
      <dgm:prSet custT="1"/>
      <dgm:spPr/>
      <dgm:t>
        <a:bodyPr/>
        <a:lstStyle/>
        <a:p>
          <a:r>
            <a:rPr lang="de-DE" sz="1050" b="1" dirty="0"/>
            <a:t>4.3.Passwort vergessen</a:t>
          </a:r>
        </a:p>
      </dgm:t>
    </dgm:pt>
    <dgm:pt modelId="{414FBDC2-D62E-4E6B-B21D-0324920E8DC4}" type="parTrans" cxnId="{47381372-7306-4FFA-B21A-690D9BD35C46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675F65CE-F637-4865-B8D0-E242226B8954}" type="sibTrans" cxnId="{47381372-7306-4FFA-B21A-690D9BD35C46}">
      <dgm:prSet/>
      <dgm:spPr/>
      <dgm:t>
        <a:bodyPr/>
        <a:lstStyle/>
        <a:p>
          <a:endParaRPr lang="de-DE"/>
        </a:p>
      </dgm:t>
    </dgm:pt>
    <dgm:pt modelId="{D77034E3-F0DA-4472-84DE-63A73726CFAD}">
      <dgm:prSet custT="1"/>
      <dgm:spPr/>
      <dgm:t>
        <a:bodyPr/>
        <a:lstStyle/>
        <a:p>
          <a:r>
            <a:rPr lang="de-DE" sz="1050" b="1" dirty="0"/>
            <a:t>4.2.Log Out</a:t>
          </a:r>
        </a:p>
      </dgm:t>
    </dgm:pt>
    <dgm:pt modelId="{5BD79B90-BD33-48BF-846B-3094DE514CDB}" type="parTrans" cxnId="{C41742D3-9A59-46ED-AF49-1EFE7530A5DA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883D9685-D77C-4B7F-B7A4-7EA0D50CADF8}" type="sibTrans" cxnId="{C41742D3-9A59-46ED-AF49-1EFE7530A5DA}">
      <dgm:prSet/>
      <dgm:spPr/>
      <dgm:t>
        <a:bodyPr/>
        <a:lstStyle/>
        <a:p>
          <a:endParaRPr lang="de-DE"/>
        </a:p>
      </dgm:t>
    </dgm:pt>
    <dgm:pt modelId="{6B44A025-92AF-4F09-9911-BEC99908F456}">
      <dgm:prSet custT="1"/>
      <dgm:spPr/>
      <dgm:t>
        <a:bodyPr/>
        <a:lstStyle/>
        <a:p>
          <a:r>
            <a:rPr lang="de-DE" sz="1050" b="1" dirty="0"/>
            <a:t>3.2.Passwort vergessen-Seite </a:t>
          </a:r>
        </a:p>
      </dgm:t>
    </dgm:pt>
    <dgm:pt modelId="{9529E09F-4E2D-4FD9-94BE-BF34FBF0E33F}" type="parTrans" cxnId="{2D8F9EB6-C3F8-4B2B-816A-D809FAA69169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0D6C6C6D-1B07-4C82-AF90-D444812AA748}" type="sibTrans" cxnId="{2D8F9EB6-C3F8-4B2B-816A-D809FAA69169}">
      <dgm:prSet/>
      <dgm:spPr/>
      <dgm:t>
        <a:bodyPr/>
        <a:lstStyle/>
        <a:p>
          <a:endParaRPr lang="de-DE"/>
        </a:p>
      </dgm:t>
    </dgm:pt>
    <dgm:pt modelId="{82098D27-0B54-AD44-A6FE-BD3A47605609}">
      <dgm:prSet phldrT="[Text]" custT="1"/>
      <dgm:spPr/>
      <dgm:t>
        <a:bodyPr/>
        <a:lstStyle/>
        <a:p>
          <a:r>
            <a:rPr lang="de-DE" sz="1050" b="1" dirty="0"/>
            <a:t>6.Rollen/Rechte</a:t>
          </a:r>
        </a:p>
      </dgm:t>
    </dgm:pt>
    <dgm:pt modelId="{5AD9EAF4-C9DE-DA43-BA6D-E76DFF926EDC}" type="sibTrans" cxnId="{E53D0D25-951B-3140-B46F-B461E9BA51EA}">
      <dgm:prSet/>
      <dgm:spPr/>
      <dgm:t>
        <a:bodyPr/>
        <a:lstStyle/>
        <a:p>
          <a:endParaRPr lang="de-DE"/>
        </a:p>
      </dgm:t>
    </dgm:pt>
    <dgm:pt modelId="{64873947-C1C8-1145-9E2E-E152405EFD5E}" type="parTrans" cxnId="{E53D0D25-951B-3140-B46F-B461E9BA51EA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endParaRPr lang="de-DE" sz="1400">
            <a:solidFill>
              <a:schemeClr val="bg1"/>
            </a:solidFill>
          </a:endParaRPr>
        </a:p>
      </dgm:t>
    </dgm:pt>
    <dgm:pt modelId="{827B8617-5E30-43E9-94F2-F8AB23148497}">
      <dgm:prSet custT="1"/>
      <dgm:spPr/>
      <dgm:t>
        <a:bodyPr/>
        <a:lstStyle/>
        <a:p>
          <a:r>
            <a:rPr lang="de-DE" sz="1050" b="1" dirty="0"/>
            <a:t>7</a:t>
          </a:r>
          <a:r>
            <a:rPr lang="de-DE" sz="1200" b="1" dirty="0"/>
            <a:t>.</a:t>
          </a:r>
          <a:r>
            <a:rPr lang="de-DE" sz="1050" b="1" dirty="0"/>
            <a:t>Dokumentation</a:t>
          </a:r>
        </a:p>
      </dgm:t>
    </dgm:pt>
    <dgm:pt modelId="{E0EFBCC0-3AF4-48A9-AC6E-C5361445344D}" type="parTrans" cxnId="{F64FAE6C-5493-4931-BB75-182F7CE081D9}">
      <dgm:prSet/>
      <dgm:spPr/>
      <dgm:t>
        <a:bodyPr/>
        <a:lstStyle/>
        <a:p>
          <a:endParaRPr lang="de-DE"/>
        </a:p>
      </dgm:t>
    </dgm:pt>
    <dgm:pt modelId="{D7A19163-6EA5-497D-AF20-7AF0251E57B2}" type="sibTrans" cxnId="{F64FAE6C-5493-4931-BB75-182F7CE081D9}">
      <dgm:prSet/>
      <dgm:spPr/>
      <dgm:t>
        <a:bodyPr/>
        <a:lstStyle/>
        <a:p>
          <a:endParaRPr lang="de-DE"/>
        </a:p>
      </dgm:t>
    </dgm:pt>
    <dgm:pt modelId="{960E0D8D-05F8-404C-8927-61DD7654E8FE}">
      <dgm:prSet custT="1"/>
      <dgm:spPr/>
      <dgm:t>
        <a:bodyPr/>
        <a:lstStyle/>
        <a:p>
          <a:r>
            <a:rPr lang="de-DE" sz="1050" b="1" dirty="0"/>
            <a:t>7.1.Testingphase</a:t>
          </a:r>
        </a:p>
      </dgm:t>
    </dgm:pt>
    <dgm:pt modelId="{DD5EDDE2-02A1-4E63-AC98-AEEB88A585D5}" type="parTrans" cxnId="{FF3B20D0-7CD2-46DB-9C96-38FEEC075BCC}">
      <dgm:prSet/>
      <dgm:spPr/>
      <dgm:t>
        <a:bodyPr/>
        <a:lstStyle/>
        <a:p>
          <a:endParaRPr lang="de-DE"/>
        </a:p>
      </dgm:t>
    </dgm:pt>
    <dgm:pt modelId="{7741FA2D-B4A4-4558-964F-D28F448690D2}" type="sibTrans" cxnId="{FF3B20D0-7CD2-46DB-9C96-38FEEC075BCC}">
      <dgm:prSet/>
      <dgm:spPr/>
      <dgm:t>
        <a:bodyPr/>
        <a:lstStyle/>
        <a:p>
          <a:endParaRPr lang="de-DE"/>
        </a:p>
      </dgm:t>
    </dgm:pt>
    <dgm:pt modelId="{D2FB5FA4-178B-421D-BDE5-54C437D26F49}">
      <dgm:prSet custT="1"/>
      <dgm:spPr/>
      <dgm:t>
        <a:bodyPr/>
        <a:lstStyle/>
        <a:p>
          <a:r>
            <a:rPr lang="de-DE" sz="1050" b="1" dirty="0"/>
            <a:t>7.2.Kundendokumentation</a:t>
          </a:r>
        </a:p>
      </dgm:t>
    </dgm:pt>
    <dgm:pt modelId="{E7243483-CFD7-4950-ADE5-5EB5D35FB958}" type="parTrans" cxnId="{1DE749B5-0727-4635-93CE-9CC8AB5E53AD}">
      <dgm:prSet/>
      <dgm:spPr/>
      <dgm:t>
        <a:bodyPr/>
        <a:lstStyle/>
        <a:p>
          <a:endParaRPr lang="de-DE"/>
        </a:p>
      </dgm:t>
    </dgm:pt>
    <dgm:pt modelId="{E8E79202-0A55-4ACD-8938-3500A9BED16F}" type="sibTrans" cxnId="{1DE749B5-0727-4635-93CE-9CC8AB5E53AD}">
      <dgm:prSet/>
      <dgm:spPr/>
      <dgm:t>
        <a:bodyPr/>
        <a:lstStyle/>
        <a:p>
          <a:endParaRPr lang="de-DE"/>
        </a:p>
      </dgm:t>
    </dgm:pt>
    <dgm:pt modelId="{DECA650A-4925-6641-9E81-5131AAFD40E3}" type="pres">
      <dgm:prSet presAssocID="{EBCA6AE8-9545-3144-8A66-9CDFED58E174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4CD699F2-42C8-5843-80C3-E573600E83B7}" type="pres">
      <dgm:prSet presAssocID="{4B03A5B3-FB87-E943-A2B3-32FB77D75D04}" presName="hierRoot1" presStyleCnt="0">
        <dgm:presLayoutVars>
          <dgm:hierBranch val="init"/>
        </dgm:presLayoutVars>
      </dgm:prSet>
      <dgm:spPr/>
    </dgm:pt>
    <dgm:pt modelId="{65219D8A-1A10-9F45-9C35-0304B307690F}" type="pres">
      <dgm:prSet presAssocID="{4B03A5B3-FB87-E943-A2B3-32FB77D75D04}" presName="rootComposite1" presStyleCnt="0"/>
      <dgm:spPr/>
    </dgm:pt>
    <dgm:pt modelId="{49B86689-67B1-574A-A7F5-633E5DBDC03E}" type="pres">
      <dgm:prSet presAssocID="{4B03A5B3-FB87-E943-A2B3-32FB77D75D04}" presName="rootText1" presStyleLbl="node0" presStyleIdx="0" presStyleCnt="1" custScaleX="175631" custScaleY="162644" custLinFactNeighborX="-292" custLinFactNeighborY="15668">
        <dgm:presLayoutVars>
          <dgm:chPref val="3"/>
        </dgm:presLayoutVars>
      </dgm:prSet>
      <dgm:spPr/>
    </dgm:pt>
    <dgm:pt modelId="{26FA6962-D291-0A4D-838D-292ADFEB39B5}" type="pres">
      <dgm:prSet presAssocID="{4B03A5B3-FB87-E943-A2B3-32FB77D75D04}" presName="rootConnector1" presStyleLbl="node1" presStyleIdx="0" presStyleCnt="0"/>
      <dgm:spPr/>
    </dgm:pt>
    <dgm:pt modelId="{A41E3A87-D815-564B-852E-B46378A8DDB2}" type="pres">
      <dgm:prSet presAssocID="{4B03A5B3-FB87-E943-A2B3-32FB77D75D04}" presName="hierChild2" presStyleCnt="0"/>
      <dgm:spPr/>
    </dgm:pt>
    <dgm:pt modelId="{57B24AE9-B0ED-AF41-964D-187831FBE1D1}" type="pres">
      <dgm:prSet presAssocID="{2EE59AA3-FCD3-3146-B894-942FC4165489}" presName="Name37" presStyleLbl="parChTrans1D2" presStyleIdx="0" presStyleCnt="7"/>
      <dgm:spPr/>
    </dgm:pt>
    <dgm:pt modelId="{4E71D515-ABAE-684F-B947-2A8A8874EABA}" type="pres">
      <dgm:prSet presAssocID="{949591D1-14AD-2542-9F4A-86E0278F66F4}" presName="hierRoot2" presStyleCnt="0">
        <dgm:presLayoutVars>
          <dgm:hierBranch val="init"/>
        </dgm:presLayoutVars>
      </dgm:prSet>
      <dgm:spPr/>
    </dgm:pt>
    <dgm:pt modelId="{59C87B65-933B-4A4A-9F50-94C0DB408DBD}" type="pres">
      <dgm:prSet presAssocID="{949591D1-14AD-2542-9F4A-86E0278F66F4}" presName="rootComposite" presStyleCnt="0"/>
      <dgm:spPr/>
    </dgm:pt>
    <dgm:pt modelId="{5342E13A-1C38-4C43-B821-A2B5C67007EF}" type="pres">
      <dgm:prSet presAssocID="{949591D1-14AD-2542-9F4A-86E0278F66F4}" presName="rootText" presStyleLbl="node2" presStyleIdx="0" presStyleCnt="7" custScaleX="115794" custScaleY="86095" custLinFactNeighborX="-292" custLinFactNeighborY="15668">
        <dgm:presLayoutVars>
          <dgm:chPref val="3"/>
        </dgm:presLayoutVars>
      </dgm:prSet>
      <dgm:spPr/>
    </dgm:pt>
    <dgm:pt modelId="{55E1D9FF-F2DC-B24F-8BA5-0ED851108C56}" type="pres">
      <dgm:prSet presAssocID="{949591D1-14AD-2542-9F4A-86E0278F66F4}" presName="rootConnector" presStyleLbl="node2" presStyleIdx="0" presStyleCnt="7"/>
      <dgm:spPr/>
    </dgm:pt>
    <dgm:pt modelId="{616AE406-CDC1-F549-B811-8EC07F78A4AB}" type="pres">
      <dgm:prSet presAssocID="{949591D1-14AD-2542-9F4A-86E0278F66F4}" presName="hierChild4" presStyleCnt="0"/>
      <dgm:spPr/>
    </dgm:pt>
    <dgm:pt modelId="{13E71C10-D2B7-6B4F-B601-C44B059DC618}" type="pres">
      <dgm:prSet presAssocID="{E8DE3320-0523-4F4C-8B5C-5941C508318C}" presName="Name37" presStyleLbl="parChTrans1D3" presStyleIdx="0" presStyleCnt="19"/>
      <dgm:spPr/>
    </dgm:pt>
    <dgm:pt modelId="{5F0F5FC4-5729-0E45-9BDD-43B108A49B58}" type="pres">
      <dgm:prSet presAssocID="{1A5BC874-2F1F-024E-BA93-F15D5B41694D}" presName="hierRoot2" presStyleCnt="0">
        <dgm:presLayoutVars>
          <dgm:hierBranch val="init"/>
        </dgm:presLayoutVars>
      </dgm:prSet>
      <dgm:spPr/>
    </dgm:pt>
    <dgm:pt modelId="{F7673753-72C2-6849-91F7-97E9BDE5BFE0}" type="pres">
      <dgm:prSet presAssocID="{1A5BC874-2F1F-024E-BA93-F15D5B41694D}" presName="rootComposite" presStyleCnt="0"/>
      <dgm:spPr/>
    </dgm:pt>
    <dgm:pt modelId="{B79AF090-C5A3-BD4C-A06F-6B78FA0ACF21}" type="pres">
      <dgm:prSet presAssocID="{1A5BC874-2F1F-024E-BA93-F15D5B41694D}" presName="rootText" presStyleLbl="node3" presStyleIdx="0" presStyleCnt="19" custScaleX="112820" custScaleY="86095" custLinFactNeighborX="-292" custLinFactNeighborY="15668">
        <dgm:presLayoutVars>
          <dgm:chPref val="3"/>
        </dgm:presLayoutVars>
      </dgm:prSet>
      <dgm:spPr/>
    </dgm:pt>
    <dgm:pt modelId="{D14417F5-B6B7-5B4E-A1AD-0155157057CF}" type="pres">
      <dgm:prSet presAssocID="{1A5BC874-2F1F-024E-BA93-F15D5B41694D}" presName="rootConnector" presStyleLbl="node3" presStyleIdx="0" presStyleCnt="19"/>
      <dgm:spPr/>
    </dgm:pt>
    <dgm:pt modelId="{D9163624-EB0D-0946-89DF-5CB08E9AB93B}" type="pres">
      <dgm:prSet presAssocID="{1A5BC874-2F1F-024E-BA93-F15D5B41694D}" presName="hierChild4" presStyleCnt="0"/>
      <dgm:spPr/>
    </dgm:pt>
    <dgm:pt modelId="{8D4CE1F6-FEA4-9241-8AB6-AAA01759A16A}" type="pres">
      <dgm:prSet presAssocID="{1A5BC874-2F1F-024E-BA93-F15D5B41694D}" presName="hierChild5" presStyleCnt="0"/>
      <dgm:spPr/>
    </dgm:pt>
    <dgm:pt modelId="{2F2470BB-38A2-4E41-B2DA-B48A75BA7AB1}" type="pres">
      <dgm:prSet presAssocID="{AFF9F6A4-93E9-104D-92AF-B24E8C596ADC}" presName="Name37" presStyleLbl="parChTrans1D3" presStyleIdx="1" presStyleCnt="19"/>
      <dgm:spPr/>
    </dgm:pt>
    <dgm:pt modelId="{030237BE-2096-CC4A-A22F-8AE4C05F4F2A}" type="pres">
      <dgm:prSet presAssocID="{14BC58BE-FE75-9345-BE8E-43DC45CC8166}" presName="hierRoot2" presStyleCnt="0">
        <dgm:presLayoutVars>
          <dgm:hierBranch val="init"/>
        </dgm:presLayoutVars>
      </dgm:prSet>
      <dgm:spPr/>
    </dgm:pt>
    <dgm:pt modelId="{6C93D079-BD7F-9D44-9916-3B9866FA39D8}" type="pres">
      <dgm:prSet presAssocID="{14BC58BE-FE75-9345-BE8E-43DC45CC8166}" presName="rootComposite" presStyleCnt="0"/>
      <dgm:spPr/>
    </dgm:pt>
    <dgm:pt modelId="{F5BC6C0D-5DDE-CB4A-97EF-013B18F41473}" type="pres">
      <dgm:prSet presAssocID="{14BC58BE-FE75-9345-BE8E-43DC45CC8166}" presName="rootText" presStyleLbl="node3" presStyleIdx="1" presStyleCnt="19" custScaleX="112820" custScaleY="86095" custLinFactNeighborX="-292" custLinFactNeighborY="15668">
        <dgm:presLayoutVars>
          <dgm:chPref val="3"/>
        </dgm:presLayoutVars>
      </dgm:prSet>
      <dgm:spPr/>
    </dgm:pt>
    <dgm:pt modelId="{F979B2D1-A581-6E40-8907-7268EDCD05BD}" type="pres">
      <dgm:prSet presAssocID="{14BC58BE-FE75-9345-BE8E-43DC45CC8166}" presName="rootConnector" presStyleLbl="node3" presStyleIdx="1" presStyleCnt="19"/>
      <dgm:spPr/>
    </dgm:pt>
    <dgm:pt modelId="{D4B96E57-DBBB-F340-961B-89EAC233A8A6}" type="pres">
      <dgm:prSet presAssocID="{14BC58BE-FE75-9345-BE8E-43DC45CC8166}" presName="hierChild4" presStyleCnt="0"/>
      <dgm:spPr/>
    </dgm:pt>
    <dgm:pt modelId="{A5FFD66D-372D-734D-AA96-69416776E511}" type="pres">
      <dgm:prSet presAssocID="{14BC58BE-FE75-9345-BE8E-43DC45CC8166}" presName="hierChild5" presStyleCnt="0"/>
      <dgm:spPr/>
    </dgm:pt>
    <dgm:pt modelId="{D5847E0E-2986-1E4B-8133-FC884DE5E8F7}" type="pres">
      <dgm:prSet presAssocID="{AF796AB1-6898-2642-99F2-B1F28BBEC8DB}" presName="Name37" presStyleLbl="parChTrans1D3" presStyleIdx="2" presStyleCnt="19"/>
      <dgm:spPr/>
    </dgm:pt>
    <dgm:pt modelId="{F5F7ED97-F900-4245-B5E1-4D70742E3CA0}" type="pres">
      <dgm:prSet presAssocID="{2DB4DE04-B90B-C745-ACAB-A8AAA0D2FFC2}" presName="hierRoot2" presStyleCnt="0">
        <dgm:presLayoutVars>
          <dgm:hierBranch val="init"/>
        </dgm:presLayoutVars>
      </dgm:prSet>
      <dgm:spPr/>
    </dgm:pt>
    <dgm:pt modelId="{0240A03E-0C20-1F40-B2E3-E57280C190FB}" type="pres">
      <dgm:prSet presAssocID="{2DB4DE04-B90B-C745-ACAB-A8AAA0D2FFC2}" presName="rootComposite" presStyleCnt="0"/>
      <dgm:spPr/>
    </dgm:pt>
    <dgm:pt modelId="{A0C3BD47-02F9-0546-8C6D-8DC994FE1E7C}" type="pres">
      <dgm:prSet presAssocID="{2DB4DE04-B90B-C745-ACAB-A8AAA0D2FFC2}" presName="rootText" presStyleLbl="node3" presStyleIdx="2" presStyleCnt="19" custScaleX="112820" custScaleY="86095" custLinFactNeighborX="-292" custLinFactNeighborY="15668">
        <dgm:presLayoutVars>
          <dgm:chPref val="3"/>
        </dgm:presLayoutVars>
      </dgm:prSet>
      <dgm:spPr/>
    </dgm:pt>
    <dgm:pt modelId="{BE43D0A4-2570-0844-8DDF-B10E94159198}" type="pres">
      <dgm:prSet presAssocID="{2DB4DE04-B90B-C745-ACAB-A8AAA0D2FFC2}" presName="rootConnector" presStyleLbl="node3" presStyleIdx="2" presStyleCnt="19"/>
      <dgm:spPr/>
    </dgm:pt>
    <dgm:pt modelId="{61DBA77D-3611-864C-8D6B-99A7BB19F8D3}" type="pres">
      <dgm:prSet presAssocID="{2DB4DE04-B90B-C745-ACAB-A8AAA0D2FFC2}" presName="hierChild4" presStyleCnt="0"/>
      <dgm:spPr/>
    </dgm:pt>
    <dgm:pt modelId="{F742B5A4-71E5-9644-A9A3-3349D45FE4A9}" type="pres">
      <dgm:prSet presAssocID="{2DB4DE04-B90B-C745-ACAB-A8AAA0D2FFC2}" presName="hierChild5" presStyleCnt="0"/>
      <dgm:spPr/>
    </dgm:pt>
    <dgm:pt modelId="{3D60F316-A052-EB46-9F64-9FF0DBE14A53}" type="pres">
      <dgm:prSet presAssocID="{949591D1-14AD-2542-9F4A-86E0278F66F4}" presName="hierChild5" presStyleCnt="0"/>
      <dgm:spPr/>
    </dgm:pt>
    <dgm:pt modelId="{53717AD0-CFA4-4A9C-B6F3-C991A181E617}" type="pres">
      <dgm:prSet presAssocID="{08F6CE2D-63F3-4679-858D-BDB22BC58819}" presName="Name37" presStyleLbl="parChTrans1D2" presStyleIdx="1" presStyleCnt="7"/>
      <dgm:spPr/>
    </dgm:pt>
    <dgm:pt modelId="{C6C6A36C-343D-4B17-9FBE-01282151B5EA}" type="pres">
      <dgm:prSet presAssocID="{3A3025F5-94BA-46B6-8845-3EB1232C4401}" presName="hierRoot2" presStyleCnt="0">
        <dgm:presLayoutVars>
          <dgm:hierBranch val="init"/>
        </dgm:presLayoutVars>
      </dgm:prSet>
      <dgm:spPr/>
    </dgm:pt>
    <dgm:pt modelId="{4EB719A7-3413-4D8A-B33D-9417D62B9793}" type="pres">
      <dgm:prSet presAssocID="{3A3025F5-94BA-46B6-8845-3EB1232C4401}" presName="rootComposite" presStyleCnt="0"/>
      <dgm:spPr/>
    </dgm:pt>
    <dgm:pt modelId="{C0D5FE1F-69BE-450F-80A0-D50FB8D9BD69}" type="pres">
      <dgm:prSet presAssocID="{3A3025F5-94BA-46B6-8845-3EB1232C4401}" presName="rootText" presStyleLbl="node2" presStyleIdx="1" presStyleCnt="7" custScaleX="112820" custScaleY="86095" custLinFactNeighborX="-292" custLinFactNeighborY="15668">
        <dgm:presLayoutVars>
          <dgm:chPref val="3"/>
        </dgm:presLayoutVars>
      </dgm:prSet>
      <dgm:spPr/>
    </dgm:pt>
    <dgm:pt modelId="{9090CA12-C3F6-4102-9156-E5E7D9E5B2B8}" type="pres">
      <dgm:prSet presAssocID="{3A3025F5-94BA-46B6-8845-3EB1232C4401}" presName="rootConnector" presStyleLbl="node2" presStyleIdx="1" presStyleCnt="7"/>
      <dgm:spPr/>
    </dgm:pt>
    <dgm:pt modelId="{6D77323F-3CEF-42EE-AEA8-806C9FCB66BE}" type="pres">
      <dgm:prSet presAssocID="{3A3025F5-94BA-46B6-8845-3EB1232C4401}" presName="hierChild4" presStyleCnt="0"/>
      <dgm:spPr/>
    </dgm:pt>
    <dgm:pt modelId="{67BE3F9E-9DAE-4B83-94B4-7BE53E323221}" type="pres">
      <dgm:prSet presAssocID="{B3B53615-DAC2-4458-B26B-439DC4DE5620}" presName="Name37" presStyleLbl="parChTrans1D3" presStyleIdx="3" presStyleCnt="19"/>
      <dgm:spPr/>
    </dgm:pt>
    <dgm:pt modelId="{67000E9A-A000-4E2D-BD1A-7CB0E063242A}" type="pres">
      <dgm:prSet presAssocID="{5DA6EAB2-AA01-41BE-B15E-968132EAC57C}" presName="hierRoot2" presStyleCnt="0">
        <dgm:presLayoutVars>
          <dgm:hierBranch val="init"/>
        </dgm:presLayoutVars>
      </dgm:prSet>
      <dgm:spPr/>
    </dgm:pt>
    <dgm:pt modelId="{3F24C9B5-E7BE-451A-A77D-5591E28AD2BE}" type="pres">
      <dgm:prSet presAssocID="{5DA6EAB2-AA01-41BE-B15E-968132EAC57C}" presName="rootComposite" presStyleCnt="0"/>
      <dgm:spPr/>
    </dgm:pt>
    <dgm:pt modelId="{C16E0121-24C4-46D5-B4B2-EFA3ADF6F337}" type="pres">
      <dgm:prSet presAssocID="{5DA6EAB2-AA01-41BE-B15E-968132EAC57C}" presName="rootText" presStyleLbl="node3" presStyleIdx="3" presStyleCnt="19" custScaleX="112820" custScaleY="86095" custLinFactNeighborX="-292" custLinFactNeighborY="15668">
        <dgm:presLayoutVars>
          <dgm:chPref val="3"/>
        </dgm:presLayoutVars>
      </dgm:prSet>
      <dgm:spPr/>
    </dgm:pt>
    <dgm:pt modelId="{F8BDDF5C-3332-492C-BD06-808B23E785E3}" type="pres">
      <dgm:prSet presAssocID="{5DA6EAB2-AA01-41BE-B15E-968132EAC57C}" presName="rootConnector" presStyleLbl="node3" presStyleIdx="3" presStyleCnt="19"/>
      <dgm:spPr/>
    </dgm:pt>
    <dgm:pt modelId="{2F4FA404-F2B1-4EC6-86DA-AD10A218093B}" type="pres">
      <dgm:prSet presAssocID="{5DA6EAB2-AA01-41BE-B15E-968132EAC57C}" presName="hierChild4" presStyleCnt="0"/>
      <dgm:spPr/>
    </dgm:pt>
    <dgm:pt modelId="{1253160E-244A-4E25-8F76-AC20A23D4F3E}" type="pres">
      <dgm:prSet presAssocID="{5DA6EAB2-AA01-41BE-B15E-968132EAC57C}" presName="hierChild5" presStyleCnt="0"/>
      <dgm:spPr/>
    </dgm:pt>
    <dgm:pt modelId="{24DE2816-EF3C-41A6-9987-3611B2A06257}" type="pres">
      <dgm:prSet presAssocID="{3A3025F5-94BA-46B6-8845-3EB1232C4401}" presName="hierChild5" presStyleCnt="0"/>
      <dgm:spPr/>
    </dgm:pt>
    <dgm:pt modelId="{F1E1CCA6-B5CA-448F-A6C9-A9EAD4F0B461}" type="pres">
      <dgm:prSet presAssocID="{A3E73386-B948-493F-902A-AE5680C8ADCA}" presName="Name37" presStyleLbl="parChTrans1D2" presStyleIdx="2" presStyleCnt="7"/>
      <dgm:spPr/>
    </dgm:pt>
    <dgm:pt modelId="{B6C83032-095A-46AB-8E7B-85D70D825278}" type="pres">
      <dgm:prSet presAssocID="{0A7EB5B1-E2BF-42FA-97CE-A1ED28BC3CBD}" presName="hierRoot2" presStyleCnt="0">
        <dgm:presLayoutVars>
          <dgm:hierBranch val="init"/>
        </dgm:presLayoutVars>
      </dgm:prSet>
      <dgm:spPr/>
    </dgm:pt>
    <dgm:pt modelId="{15A6E52D-B311-40D6-8821-95D7CBE2A39C}" type="pres">
      <dgm:prSet presAssocID="{0A7EB5B1-E2BF-42FA-97CE-A1ED28BC3CBD}" presName="rootComposite" presStyleCnt="0"/>
      <dgm:spPr/>
    </dgm:pt>
    <dgm:pt modelId="{35A8897A-21AC-43D9-92AD-BD3B05691203}" type="pres">
      <dgm:prSet presAssocID="{0A7EB5B1-E2BF-42FA-97CE-A1ED28BC3CBD}" presName="rootText" presStyleLbl="node2" presStyleIdx="2" presStyleCnt="7" custScaleX="112820" custScaleY="86095" custLinFactNeighborX="-292" custLinFactNeighborY="15668">
        <dgm:presLayoutVars>
          <dgm:chPref val="3"/>
        </dgm:presLayoutVars>
      </dgm:prSet>
      <dgm:spPr/>
    </dgm:pt>
    <dgm:pt modelId="{B33D822C-7F8E-45EF-B4A4-BA2540D63323}" type="pres">
      <dgm:prSet presAssocID="{0A7EB5B1-E2BF-42FA-97CE-A1ED28BC3CBD}" presName="rootConnector" presStyleLbl="node2" presStyleIdx="2" presStyleCnt="7"/>
      <dgm:spPr/>
    </dgm:pt>
    <dgm:pt modelId="{8431BCE1-30A1-4F0A-B822-2E721CB2CA31}" type="pres">
      <dgm:prSet presAssocID="{0A7EB5B1-E2BF-42FA-97CE-A1ED28BC3CBD}" presName="hierChild4" presStyleCnt="0"/>
      <dgm:spPr/>
    </dgm:pt>
    <dgm:pt modelId="{A223F4EF-C207-4E73-A1B1-4D1F15A6EAAC}" type="pres">
      <dgm:prSet presAssocID="{F9089EC7-3A4D-4DD1-8DC8-0D58064DAA33}" presName="Name37" presStyleLbl="parChTrans1D3" presStyleIdx="4" presStyleCnt="19"/>
      <dgm:spPr/>
    </dgm:pt>
    <dgm:pt modelId="{6E05E30B-682E-464B-B2CA-5D8C902BAA69}" type="pres">
      <dgm:prSet presAssocID="{6B4F8E05-6BF6-453E-A2D8-F1D1826AD558}" presName="hierRoot2" presStyleCnt="0">
        <dgm:presLayoutVars>
          <dgm:hierBranch val="init"/>
        </dgm:presLayoutVars>
      </dgm:prSet>
      <dgm:spPr/>
    </dgm:pt>
    <dgm:pt modelId="{FDBA69FC-66F9-4D2B-97A9-41AB89D09321}" type="pres">
      <dgm:prSet presAssocID="{6B4F8E05-6BF6-453E-A2D8-F1D1826AD558}" presName="rootComposite" presStyleCnt="0"/>
      <dgm:spPr/>
    </dgm:pt>
    <dgm:pt modelId="{B94C8036-0D61-4367-9828-1E9AD21C1536}" type="pres">
      <dgm:prSet presAssocID="{6B4F8E05-6BF6-453E-A2D8-F1D1826AD558}" presName="rootText" presStyleLbl="node3" presStyleIdx="4" presStyleCnt="19" custScaleX="112820" custScaleY="86095" custLinFactNeighborX="-292" custLinFactNeighborY="15668">
        <dgm:presLayoutVars>
          <dgm:chPref val="3"/>
        </dgm:presLayoutVars>
      </dgm:prSet>
      <dgm:spPr/>
    </dgm:pt>
    <dgm:pt modelId="{B100E119-E5DD-4278-BABB-F383F85AF65A}" type="pres">
      <dgm:prSet presAssocID="{6B4F8E05-6BF6-453E-A2D8-F1D1826AD558}" presName="rootConnector" presStyleLbl="node3" presStyleIdx="4" presStyleCnt="19"/>
      <dgm:spPr/>
    </dgm:pt>
    <dgm:pt modelId="{D564B711-9D26-42F8-BEF3-0BD28FAD03A3}" type="pres">
      <dgm:prSet presAssocID="{6B4F8E05-6BF6-453E-A2D8-F1D1826AD558}" presName="hierChild4" presStyleCnt="0"/>
      <dgm:spPr/>
    </dgm:pt>
    <dgm:pt modelId="{A30BB6D4-F385-42C9-8EC4-54E0D9FA52E9}" type="pres">
      <dgm:prSet presAssocID="{6B4F8E05-6BF6-453E-A2D8-F1D1826AD558}" presName="hierChild5" presStyleCnt="0"/>
      <dgm:spPr/>
    </dgm:pt>
    <dgm:pt modelId="{3ACCED4D-B2D2-4CD2-9167-8E16C94C73CC}" type="pres">
      <dgm:prSet presAssocID="{9529E09F-4E2D-4FD9-94BE-BF34FBF0E33F}" presName="Name37" presStyleLbl="parChTrans1D3" presStyleIdx="5" presStyleCnt="19"/>
      <dgm:spPr/>
    </dgm:pt>
    <dgm:pt modelId="{1F331270-658F-4EF0-9856-77F52B0A64CF}" type="pres">
      <dgm:prSet presAssocID="{6B44A025-92AF-4F09-9911-BEC99908F456}" presName="hierRoot2" presStyleCnt="0">
        <dgm:presLayoutVars>
          <dgm:hierBranch val="init"/>
        </dgm:presLayoutVars>
      </dgm:prSet>
      <dgm:spPr/>
    </dgm:pt>
    <dgm:pt modelId="{607562C5-5E4F-4A03-8573-8BEB7C8651C5}" type="pres">
      <dgm:prSet presAssocID="{6B44A025-92AF-4F09-9911-BEC99908F456}" presName="rootComposite" presStyleCnt="0"/>
      <dgm:spPr/>
    </dgm:pt>
    <dgm:pt modelId="{17B538A6-E22C-4824-BE17-42D2E5E46C6F}" type="pres">
      <dgm:prSet presAssocID="{6B44A025-92AF-4F09-9911-BEC99908F456}" presName="rootText" presStyleLbl="node3" presStyleIdx="5" presStyleCnt="19" custScaleX="112820" custScaleY="86095" custLinFactNeighborX="-292" custLinFactNeighborY="15668">
        <dgm:presLayoutVars>
          <dgm:chPref val="3"/>
        </dgm:presLayoutVars>
      </dgm:prSet>
      <dgm:spPr/>
    </dgm:pt>
    <dgm:pt modelId="{AE01415F-EA32-423E-9F4D-FF68894E3170}" type="pres">
      <dgm:prSet presAssocID="{6B44A025-92AF-4F09-9911-BEC99908F456}" presName="rootConnector" presStyleLbl="node3" presStyleIdx="5" presStyleCnt="19"/>
      <dgm:spPr/>
    </dgm:pt>
    <dgm:pt modelId="{97963798-F6E3-4BB3-9509-58CB0CE11140}" type="pres">
      <dgm:prSet presAssocID="{6B44A025-92AF-4F09-9911-BEC99908F456}" presName="hierChild4" presStyleCnt="0"/>
      <dgm:spPr/>
    </dgm:pt>
    <dgm:pt modelId="{5A49418C-3B1B-40F0-81EF-765A7FEFCD93}" type="pres">
      <dgm:prSet presAssocID="{6B44A025-92AF-4F09-9911-BEC99908F456}" presName="hierChild5" presStyleCnt="0"/>
      <dgm:spPr/>
    </dgm:pt>
    <dgm:pt modelId="{945899B2-BDDB-43C0-B85D-163CB087ED36}" type="pres">
      <dgm:prSet presAssocID="{4AB5B305-30F4-40A4-92C9-9615C4F0ABB0}" presName="Name37" presStyleLbl="parChTrans1D3" presStyleIdx="6" presStyleCnt="19"/>
      <dgm:spPr/>
    </dgm:pt>
    <dgm:pt modelId="{5DAEB3DD-13EB-41F6-8924-A1E76C7BC753}" type="pres">
      <dgm:prSet presAssocID="{EE5A2023-68A4-4824-903B-00DD4AD28923}" presName="hierRoot2" presStyleCnt="0">
        <dgm:presLayoutVars>
          <dgm:hierBranch val="init"/>
        </dgm:presLayoutVars>
      </dgm:prSet>
      <dgm:spPr/>
    </dgm:pt>
    <dgm:pt modelId="{7168A972-178E-40ED-93A0-3EE218C92735}" type="pres">
      <dgm:prSet presAssocID="{EE5A2023-68A4-4824-903B-00DD4AD28923}" presName="rootComposite" presStyleCnt="0"/>
      <dgm:spPr/>
    </dgm:pt>
    <dgm:pt modelId="{7D66E290-AAD3-4971-898A-EB5E0B793119}" type="pres">
      <dgm:prSet presAssocID="{EE5A2023-68A4-4824-903B-00DD4AD28923}" presName="rootText" presStyleLbl="node3" presStyleIdx="6" presStyleCnt="19" custScaleX="112820" custScaleY="86095" custLinFactNeighborX="-292" custLinFactNeighborY="15668">
        <dgm:presLayoutVars>
          <dgm:chPref val="3"/>
        </dgm:presLayoutVars>
      </dgm:prSet>
      <dgm:spPr/>
    </dgm:pt>
    <dgm:pt modelId="{20E3B098-A507-4A8E-A6EA-F1CAD824C780}" type="pres">
      <dgm:prSet presAssocID="{EE5A2023-68A4-4824-903B-00DD4AD28923}" presName="rootConnector" presStyleLbl="node3" presStyleIdx="6" presStyleCnt="19"/>
      <dgm:spPr/>
    </dgm:pt>
    <dgm:pt modelId="{45E3B240-1D25-452E-A941-2327B37C7148}" type="pres">
      <dgm:prSet presAssocID="{EE5A2023-68A4-4824-903B-00DD4AD28923}" presName="hierChild4" presStyleCnt="0"/>
      <dgm:spPr/>
    </dgm:pt>
    <dgm:pt modelId="{40BFDBCD-4264-48A5-838F-515590B93730}" type="pres">
      <dgm:prSet presAssocID="{EE5A2023-68A4-4824-903B-00DD4AD28923}" presName="hierChild5" presStyleCnt="0"/>
      <dgm:spPr/>
    </dgm:pt>
    <dgm:pt modelId="{5001705D-BD56-4247-8356-7A2CD0DA8B66}" type="pres">
      <dgm:prSet presAssocID="{AD001CC4-F8AF-4132-94D9-39FC09E93C17}" presName="Name37" presStyleLbl="parChTrans1D3" presStyleIdx="7" presStyleCnt="19"/>
      <dgm:spPr/>
    </dgm:pt>
    <dgm:pt modelId="{945A0867-7C0C-46AE-85BD-2A5F53D5CD83}" type="pres">
      <dgm:prSet presAssocID="{3411EA7A-E3D0-4123-B527-1468265BD6D8}" presName="hierRoot2" presStyleCnt="0">
        <dgm:presLayoutVars>
          <dgm:hierBranch val="init"/>
        </dgm:presLayoutVars>
      </dgm:prSet>
      <dgm:spPr/>
    </dgm:pt>
    <dgm:pt modelId="{FFB7EFAE-F198-44FB-BB84-75B8315702F3}" type="pres">
      <dgm:prSet presAssocID="{3411EA7A-E3D0-4123-B527-1468265BD6D8}" presName="rootComposite" presStyleCnt="0"/>
      <dgm:spPr/>
    </dgm:pt>
    <dgm:pt modelId="{761A833A-0A23-4FE7-9495-94C2F79FDE43}" type="pres">
      <dgm:prSet presAssocID="{3411EA7A-E3D0-4123-B527-1468265BD6D8}" presName="rootText" presStyleLbl="node3" presStyleIdx="7" presStyleCnt="19" custScaleX="112820" custScaleY="86095" custLinFactNeighborX="-292" custLinFactNeighborY="15668">
        <dgm:presLayoutVars>
          <dgm:chPref val="3"/>
        </dgm:presLayoutVars>
      </dgm:prSet>
      <dgm:spPr/>
    </dgm:pt>
    <dgm:pt modelId="{F00E08B1-B941-4001-81B9-9DC8123CDA8C}" type="pres">
      <dgm:prSet presAssocID="{3411EA7A-E3D0-4123-B527-1468265BD6D8}" presName="rootConnector" presStyleLbl="node3" presStyleIdx="7" presStyleCnt="19"/>
      <dgm:spPr/>
    </dgm:pt>
    <dgm:pt modelId="{F19D8A69-ACCB-4628-B88D-70907A54A3A8}" type="pres">
      <dgm:prSet presAssocID="{3411EA7A-E3D0-4123-B527-1468265BD6D8}" presName="hierChild4" presStyleCnt="0"/>
      <dgm:spPr/>
    </dgm:pt>
    <dgm:pt modelId="{BA4176AF-67C6-4923-B129-B07721F661A1}" type="pres">
      <dgm:prSet presAssocID="{3411EA7A-E3D0-4123-B527-1468265BD6D8}" presName="hierChild5" presStyleCnt="0"/>
      <dgm:spPr/>
    </dgm:pt>
    <dgm:pt modelId="{67C34A15-FC4C-4C9B-B29F-A326F4AEDFDD}" type="pres">
      <dgm:prSet presAssocID="{0A7EB5B1-E2BF-42FA-97CE-A1ED28BC3CBD}" presName="hierChild5" presStyleCnt="0"/>
      <dgm:spPr/>
    </dgm:pt>
    <dgm:pt modelId="{EED84F99-A90A-4745-B2A2-0BC725F06BA7}" type="pres">
      <dgm:prSet presAssocID="{49B6E850-214B-9442-95AB-095967991A45}" presName="Name37" presStyleLbl="parChTrans1D2" presStyleIdx="3" presStyleCnt="7"/>
      <dgm:spPr/>
    </dgm:pt>
    <dgm:pt modelId="{8B0C6A80-36E5-8143-B98C-F13856D6C57A}" type="pres">
      <dgm:prSet presAssocID="{A3F9823F-838C-4343-A97D-8142E2F62423}" presName="hierRoot2" presStyleCnt="0">
        <dgm:presLayoutVars>
          <dgm:hierBranch val="init"/>
        </dgm:presLayoutVars>
      </dgm:prSet>
      <dgm:spPr/>
    </dgm:pt>
    <dgm:pt modelId="{BDA3C246-7F5D-374E-81AE-E524CBD3FC06}" type="pres">
      <dgm:prSet presAssocID="{A3F9823F-838C-4343-A97D-8142E2F62423}" presName="rootComposite" presStyleCnt="0"/>
      <dgm:spPr/>
    </dgm:pt>
    <dgm:pt modelId="{709FA4AA-76C5-9F4E-9678-5F82DEF7441A}" type="pres">
      <dgm:prSet presAssocID="{A3F9823F-838C-4343-A97D-8142E2F62423}" presName="rootText" presStyleLbl="node2" presStyleIdx="3" presStyleCnt="7" custScaleX="112820" custScaleY="86095" custLinFactNeighborX="-292" custLinFactNeighborY="15668">
        <dgm:presLayoutVars>
          <dgm:chPref val="3"/>
        </dgm:presLayoutVars>
      </dgm:prSet>
      <dgm:spPr/>
    </dgm:pt>
    <dgm:pt modelId="{7120E9CD-AE41-9C43-8F60-2894EFD5B66D}" type="pres">
      <dgm:prSet presAssocID="{A3F9823F-838C-4343-A97D-8142E2F62423}" presName="rootConnector" presStyleLbl="node2" presStyleIdx="3" presStyleCnt="7"/>
      <dgm:spPr/>
    </dgm:pt>
    <dgm:pt modelId="{1097B99E-0647-3F42-9AD4-2814AFAA5B5F}" type="pres">
      <dgm:prSet presAssocID="{A3F9823F-838C-4343-A97D-8142E2F62423}" presName="hierChild4" presStyleCnt="0"/>
      <dgm:spPr/>
    </dgm:pt>
    <dgm:pt modelId="{CF345018-6611-8846-9867-5983103CD6E5}" type="pres">
      <dgm:prSet presAssocID="{E391B6A1-AEB1-A946-B6F4-15EE7EBF19CC}" presName="Name37" presStyleLbl="parChTrans1D3" presStyleIdx="8" presStyleCnt="19"/>
      <dgm:spPr/>
    </dgm:pt>
    <dgm:pt modelId="{31DF14A8-9BAF-BA44-BB60-B6BE28C6EFBD}" type="pres">
      <dgm:prSet presAssocID="{E191B97A-B041-9947-83C4-908D7C8BBB14}" presName="hierRoot2" presStyleCnt="0">
        <dgm:presLayoutVars>
          <dgm:hierBranch val="init"/>
        </dgm:presLayoutVars>
      </dgm:prSet>
      <dgm:spPr/>
    </dgm:pt>
    <dgm:pt modelId="{266248D5-6466-974C-AF85-19A826F26888}" type="pres">
      <dgm:prSet presAssocID="{E191B97A-B041-9947-83C4-908D7C8BBB14}" presName="rootComposite" presStyleCnt="0"/>
      <dgm:spPr/>
    </dgm:pt>
    <dgm:pt modelId="{37B3547D-1F2B-FB46-BA1A-EC8C7CF644B3}" type="pres">
      <dgm:prSet presAssocID="{E191B97A-B041-9947-83C4-908D7C8BBB14}" presName="rootText" presStyleLbl="node3" presStyleIdx="8" presStyleCnt="19" custScaleX="112820" custScaleY="86095" custLinFactNeighborX="648" custLinFactNeighborY="19967">
        <dgm:presLayoutVars>
          <dgm:chPref val="3"/>
        </dgm:presLayoutVars>
      </dgm:prSet>
      <dgm:spPr/>
    </dgm:pt>
    <dgm:pt modelId="{4C80E2AC-512B-9B4C-A7F9-F84D6A64C311}" type="pres">
      <dgm:prSet presAssocID="{E191B97A-B041-9947-83C4-908D7C8BBB14}" presName="rootConnector" presStyleLbl="node3" presStyleIdx="8" presStyleCnt="19"/>
      <dgm:spPr/>
    </dgm:pt>
    <dgm:pt modelId="{A325E9E1-18CC-FF43-B22C-8FCBF44D4DAE}" type="pres">
      <dgm:prSet presAssocID="{E191B97A-B041-9947-83C4-908D7C8BBB14}" presName="hierChild4" presStyleCnt="0"/>
      <dgm:spPr/>
    </dgm:pt>
    <dgm:pt modelId="{4E2032BA-C58F-B54F-A5FD-9B4D1D44183D}" type="pres">
      <dgm:prSet presAssocID="{E191B97A-B041-9947-83C4-908D7C8BBB14}" presName="hierChild5" presStyleCnt="0"/>
      <dgm:spPr/>
    </dgm:pt>
    <dgm:pt modelId="{B32C6C0B-9A9E-4FC4-AAD0-F9AAADCE02ED}" type="pres">
      <dgm:prSet presAssocID="{5BD79B90-BD33-48BF-846B-3094DE514CDB}" presName="Name37" presStyleLbl="parChTrans1D3" presStyleIdx="9" presStyleCnt="19"/>
      <dgm:spPr/>
    </dgm:pt>
    <dgm:pt modelId="{F5900660-A89B-4757-8D16-67341196E25C}" type="pres">
      <dgm:prSet presAssocID="{D77034E3-F0DA-4472-84DE-63A73726CFAD}" presName="hierRoot2" presStyleCnt="0">
        <dgm:presLayoutVars>
          <dgm:hierBranch val="init"/>
        </dgm:presLayoutVars>
      </dgm:prSet>
      <dgm:spPr/>
    </dgm:pt>
    <dgm:pt modelId="{CCF64D4C-71A0-45B7-8168-275E29F3662A}" type="pres">
      <dgm:prSet presAssocID="{D77034E3-F0DA-4472-84DE-63A73726CFAD}" presName="rootComposite" presStyleCnt="0"/>
      <dgm:spPr/>
    </dgm:pt>
    <dgm:pt modelId="{F1501F1A-265F-45FC-A7D4-3FA97C14F3ED}" type="pres">
      <dgm:prSet presAssocID="{D77034E3-F0DA-4472-84DE-63A73726CFAD}" presName="rootText" presStyleLbl="node3" presStyleIdx="9" presStyleCnt="19" custScaleX="112820" custScaleY="86095" custLinFactNeighborX="-292" custLinFactNeighborY="15668">
        <dgm:presLayoutVars>
          <dgm:chPref val="3"/>
        </dgm:presLayoutVars>
      </dgm:prSet>
      <dgm:spPr/>
    </dgm:pt>
    <dgm:pt modelId="{F0B44BBB-E40C-48F1-A0D3-676E1E75DD9F}" type="pres">
      <dgm:prSet presAssocID="{D77034E3-F0DA-4472-84DE-63A73726CFAD}" presName="rootConnector" presStyleLbl="node3" presStyleIdx="9" presStyleCnt="19"/>
      <dgm:spPr/>
    </dgm:pt>
    <dgm:pt modelId="{281A98E7-644F-4B9A-91F3-7FD9452D7242}" type="pres">
      <dgm:prSet presAssocID="{D77034E3-F0DA-4472-84DE-63A73726CFAD}" presName="hierChild4" presStyleCnt="0"/>
      <dgm:spPr/>
    </dgm:pt>
    <dgm:pt modelId="{6C3F4214-3699-4395-8AFA-027BFD8C94A6}" type="pres">
      <dgm:prSet presAssocID="{D77034E3-F0DA-4472-84DE-63A73726CFAD}" presName="hierChild5" presStyleCnt="0"/>
      <dgm:spPr/>
    </dgm:pt>
    <dgm:pt modelId="{4B3AE09D-6CC1-422F-A633-D9B4FB0F3304}" type="pres">
      <dgm:prSet presAssocID="{414FBDC2-D62E-4E6B-B21D-0324920E8DC4}" presName="Name37" presStyleLbl="parChTrans1D3" presStyleIdx="10" presStyleCnt="19"/>
      <dgm:spPr/>
    </dgm:pt>
    <dgm:pt modelId="{EAAA62BB-9FC6-46E0-B20D-CC1A70CB28A9}" type="pres">
      <dgm:prSet presAssocID="{4A6E924C-2F52-49E6-A1CC-7CF90D4EF4D6}" presName="hierRoot2" presStyleCnt="0">
        <dgm:presLayoutVars>
          <dgm:hierBranch val="init"/>
        </dgm:presLayoutVars>
      </dgm:prSet>
      <dgm:spPr/>
    </dgm:pt>
    <dgm:pt modelId="{D0BD4B7D-1612-4738-A1AD-85B4B670F56A}" type="pres">
      <dgm:prSet presAssocID="{4A6E924C-2F52-49E6-A1CC-7CF90D4EF4D6}" presName="rootComposite" presStyleCnt="0"/>
      <dgm:spPr/>
    </dgm:pt>
    <dgm:pt modelId="{847EE679-A63B-473F-A5CF-801AACAF3C63}" type="pres">
      <dgm:prSet presAssocID="{4A6E924C-2F52-49E6-A1CC-7CF90D4EF4D6}" presName="rootText" presStyleLbl="node3" presStyleIdx="10" presStyleCnt="19" custScaleX="112820" custScaleY="86095" custLinFactNeighborX="-292" custLinFactNeighborY="15668">
        <dgm:presLayoutVars>
          <dgm:chPref val="3"/>
        </dgm:presLayoutVars>
      </dgm:prSet>
      <dgm:spPr/>
    </dgm:pt>
    <dgm:pt modelId="{5AB8A781-ADA0-4921-B609-5E76C3B1644D}" type="pres">
      <dgm:prSet presAssocID="{4A6E924C-2F52-49E6-A1CC-7CF90D4EF4D6}" presName="rootConnector" presStyleLbl="node3" presStyleIdx="10" presStyleCnt="19"/>
      <dgm:spPr/>
    </dgm:pt>
    <dgm:pt modelId="{F73A2DA9-FC01-4E1E-BB6A-24ED9A5C54A9}" type="pres">
      <dgm:prSet presAssocID="{4A6E924C-2F52-49E6-A1CC-7CF90D4EF4D6}" presName="hierChild4" presStyleCnt="0"/>
      <dgm:spPr/>
    </dgm:pt>
    <dgm:pt modelId="{7C36D829-8AAD-4896-A8EE-CFB68F90384D}" type="pres">
      <dgm:prSet presAssocID="{4A6E924C-2F52-49E6-A1CC-7CF90D4EF4D6}" presName="hierChild5" presStyleCnt="0"/>
      <dgm:spPr/>
    </dgm:pt>
    <dgm:pt modelId="{92B94817-75E0-4172-AA75-1F15CD46DF4F}" type="pres">
      <dgm:prSet presAssocID="{9FC190B7-6B8E-4A06-9DC2-A7B027F62C58}" presName="Name37" presStyleLbl="parChTrans1D3" presStyleIdx="11" presStyleCnt="19"/>
      <dgm:spPr/>
    </dgm:pt>
    <dgm:pt modelId="{70D372A6-D9D8-4E2B-8E7C-C9FA247A888A}" type="pres">
      <dgm:prSet presAssocID="{5AF21C8B-D982-49EB-A6A3-A55EBAD5AE2B}" presName="hierRoot2" presStyleCnt="0">
        <dgm:presLayoutVars>
          <dgm:hierBranch val="init"/>
        </dgm:presLayoutVars>
      </dgm:prSet>
      <dgm:spPr/>
    </dgm:pt>
    <dgm:pt modelId="{8F432797-5542-4412-B46B-D5B16FD32BB8}" type="pres">
      <dgm:prSet presAssocID="{5AF21C8B-D982-49EB-A6A3-A55EBAD5AE2B}" presName="rootComposite" presStyleCnt="0"/>
      <dgm:spPr/>
    </dgm:pt>
    <dgm:pt modelId="{4FB3BCAE-E59B-4871-8138-C04932D1D4C5}" type="pres">
      <dgm:prSet presAssocID="{5AF21C8B-D982-49EB-A6A3-A55EBAD5AE2B}" presName="rootText" presStyleLbl="node3" presStyleIdx="11" presStyleCnt="19" custScaleX="112820" custScaleY="86095" custLinFactNeighborX="-292" custLinFactNeighborY="15668">
        <dgm:presLayoutVars>
          <dgm:chPref val="3"/>
        </dgm:presLayoutVars>
      </dgm:prSet>
      <dgm:spPr/>
    </dgm:pt>
    <dgm:pt modelId="{3A945D74-3CE1-4404-A9CA-11DA7BBA64F0}" type="pres">
      <dgm:prSet presAssocID="{5AF21C8B-D982-49EB-A6A3-A55EBAD5AE2B}" presName="rootConnector" presStyleLbl="node3" presStyleIdx="11" presStyleCnt="19"/>
      <dgm:spPr/>
    </dgm:pt>
    <dgm:pt modelId="{1382FB71-B3A3-4005-87A9-F5FF6E100AE7}" type="pres">
      <dgm:prSet presAssocID="{5AF21C8B-D982-49EB-A6A3-A55EBAD5AE2B}" presName="hierChild4" presStyleCnt="0"/>
      <dgm:spPr/>
    </dgm:pt>
    <dgm:pt modelId="{5F7D719A-2A00-46D9-B034-7A210F002542}" type="pres">
      <dgm:prSet presAssocID="{5AF21C8B-D982-49EB-A6A3-A55EBAD5AE2B}" presName="hierChild5" presStyleCnt="0"/>
      <dgm:spPr/>
    </dgm:pt>
    <dgm:pt modelId="{7A5A863A-0104-4E20-9AA1-D23A85448E17}" type="pres">
      <dgm:prSet presAssocID="{A7209149-BD45-4FDC-AB1E-153FB4CA39D2}" presName="Name37" presStyleLbl="parChTrans1D3" presStyleIdx="12" presStyleCnt="19"/>
      <dgm:spPr/>
    </dgm:pt>
    <dgm:pt modelId="{7EAEC195-5E9E-4D80-9D36-9CAA36622108}" type="pres">
      <dgm:prSet presAssocID="{A1D00132-0F7F-4860-8ABC-0F1C4AF94B55}" presName="hierRoot2" presStyleCnt="0">
        <dgm:presLayoutVars>
          <dgm:hierBranch val="init"/>
        </dgm:presLayoutVars>
      </dgm:prSet>
      <dgm:spPr/>
    </dgm:pt>
    <dgm:pt modelId="{9E00E857-24B9-469A-BC64-DFB00582F858}" type="pres">
      <dgm:prSet presAssocID="{A1D00132-0F7F-4860-8ABC-0F1C4AF94B55}" presName="rootComposite" presStyleCnt="0"/>
      <dgm:spPr/>
    </dgm:pt>
    <dgm:pt modelId="{8EBDBB26-FA1A-4866-976D-123A98FA6F1B}" type="pres">
      <dgm:prSet presAssocID="{A1D00132-0F7F-4860-8ABC-0F1C4AF94B55}" presName="rootText" presStyleLbl="node3" presStyleIdx="12" presStyleCnt="19" custScaleX="112820" custScaleY="86095" custLinFactNeighborX="-292" custLinFactNeighborY="15668">
        <dgm:presLayoutVars>
          <dgm:chPref val="3"/>
        </dgm:presLayoutVars>
      </dgm:prSet>
      <dgm:spPr/>
    </dgm:pt>
    <dgm:pt modelId="{2A05581B-748E-49CF-A655-5A8E2EACF5D8}" type="pres">
      <dgm:prSet presAssocID="{A1D00132-0F7F-4860-8ABC-0F1C4AF94B55}" presName="rootConnector" presStyleLbl="node3" presStyleIdx="12" presStyleCnt="19"/>
      <dgm:spPr/>
    </dgm:pt>
    <dgm:pt modelId="{835A974D-7212-48C9-801E-0D6763897F85}" type="pres">
      <dgm:prSet presAssocID="{A1D00132-0F7F-4860-8ABC-0F1C4AF94B55}" presName="hierChild4" presStyleCnt="0"/>
      <dgm:spPr/>
    </dgm:pt>
    <dgm:pt modelId="{A99DAAA1-90EE-4454-994E-9F28E2715E7C}" type="pres">
      <dgm:prSet presAssocID="{A1D00132-0F7F-4860-8ABC-0F1C4AF94B55}" presName="hierChild5" presStyleCnt="0"/>
      <dgm:spPr/>
    </dgm:pt>
    <dgm:pt modelId="{1DC303F6-65B4-C845-97BB-A50062C5F8B4}" type="pres">
      <dgm:prSet presAssocID="{A3F9823F-838C-4343-A97D-8142E2F62423}" presName="hierChild5" presStyleCnt="0"/>
      <dgm:spPr/>
    </dgm:pt>
    <dgm:pt modelId="{72BBC723-9B7C-334D-A6AA-27FC229642E9}" type="pres">
      <dgm:prSet presAssocID="{79787822-7512-9246-9CE1-DFABE1960CF9}" presName="Name37" presStyleLbl="parChTrans1D2" presStyleIdx="4" presStyleCnt="7"/>
      <dgm:spPr/>
    </dgm:pt>
    <dgm:pt modelId="{8E53A898-B78E-204C-BF93-576DA404A031}" type="pres">
      <dgm:prSet presAssocID="{04BC444A-E1B9-8E4A-A964-4EB03434DB6D}" presName="hierRoot2" presStyleCnt="0">
        <dgm:presLayoutVars>
          <dgm:hierBranch val="init"/>
        </dgm:presLayoutVars>
      </dgm:prSet>
      <dgm:spPr/>
    </dgm:pt>
    <dgm:pt modelId="{32F8E9F0-B989-EE4C-A7F5-7A71062E072B}" type="pres">
      <dgm:prSet presAssocID="{04BC444A-E1B9-8E4A-A964-4EB03434DB6D}" presName="rootComposite" presStyleCnt="0"/>
      <dgm:spPr/>
    </dgm:pt>
    <dgm:pt modelId="{BB54FDA3-6EA0-034B-92B7-BA1782717CA2}" type="pres">
      <dgm:prSet presAssocID="{04BC444A-E1B9-8E4A-A964-4EB03434DB6D}" presName="rootText" presStyleLbl="node2" presStyleIdx="4" presStyleCnt="7" custScaleX="112820" custScaleY="86095" custLinFactNeighborX="-292" custLinFactNeighborY="15668">
        <dgm:presLayoutVars>
          <dgm:chPref val="3"/>
        </dgm:presLayoutVars>
      </dgm:prSet>
      <dgm:spPr/>
    </dgm:pt>
    <dgm:pt modelId="{D07845B2-D240-3547-A33D-F80285306458}" type="pres">
      <dgm:prSet presAssocID="{04BC444A-E1B9-8E4A-A964-4EB03434DB6D}" presName="rootConnector" presStyleLbl="node2" presStyleIdx="4" presStyleCnt="7"/>
      <dgm:spPr/>
    </dgm:pt>
    <dgm:pt modelId="{420AA38A-7960-B341-8BFF-4EE315F7AF87}" type="pres">
      <dgm:prSet presAssocID="{04BC444A-E1B9-8E4A-A964-4EB03434DB6D}" presName="hierChild4" presStyleCnt="0"/>
      <dgm:spPr/>
    </dgm:pt>
    <dgm:pt modelId="{693EC3EB-0465-B34F-AAA7-F954D954D6DB}" type="pres">
      <dgm:prSet presAssocID="{CE49BCE0-ED8B-C348-9211-B034405C5804}" presName="Name37" presStyleLbl="parChTrans1D3" presStyleIdx="13" presStyleCnt="19"/>
      <dgm:spPr/>
    </dgm:pt>
    <dgm:pt modelId="{36A9A177-A301-8B4F-AD20-624E80924F69}" type="pres">
      <dgm:prSet presAssocID="{9254A6CA-3717-7641-BA17-B73E2456F946}" presName="hierRoot2" presStyleCnt="0">
        <dgm:presLayoutVars>
          <dgm:hierBranch val="init"/>
        </dgm:presLayoutVars>
      </dgm:prSet>
      <dgm:spPr/>
    </dgm:pt>
    <dgm:pt modelId="{941AF9B6-63C5-1F42-B02F-651F48273E82}" type="pres">
      <dgm:prSet presAssocID="{9254A6CA-3717-7641-BA17-B73E2456F946}" presName="rootComposite" presStyleCnt="0"/>
      <dgm:spPr/>
    </dgm:pt>
    <dgm:pt modelId="{C9A4B63C-78DC-064B-A0BF-F853548DD702}" type="pres">
      <dgm:prSet presAssocID="{9254A6CA-3717-7641-BA17-B73E2456F946}" presName="rootText" presStyleLbl="node3" presStyleIdx="13" presStyleCnt="19" custScaleX="112820" custScaleY="86095" custLinFactNeighborX="-292" custLinFactNeighborY="15668">
        <dgm:presLayoutVars>
          <dgm:chPref val="3"/>
        </dgm:presLayoutVars>
      </dgm:prSet>
      <dgm:spPr/>
    </dgm:pt>
    <dgm:pt modelId="{A26034A3-185A-0445-A756-8FE854ED65A4}" type="pres">
      <dgm:prSet presAssocID="{9254A6CA-3717-7641-BA17-B73E2456F946}" presName="rootConnector" presStyleLbl="node3" presStyleIdx="13" presStyleCnt="19"/>
      <dgm:spPr/>
    </dgm:pt>
    <dgm:pt modelId="{BEB692C4-6AB7-E14A-98D9-C306B0B9904E}" type="pres">
      <dgm:prSet presAssocID="{9254A6CA-3717-7641-BA17-B73E2456F946}" presName="hierChild4" presStyleCnt="0"/>
      <dgm:spPr/>
    </dgm:pt>
    <dgm:pt modelId="{77E58118-9116-2B43-821D-0D0EC07C4780}" type="pres">
      <dgm:prSet presAssocID="{B89912AD-E264-3345-A114-98D2DAA7A207}" presName="Name37" presStyleLbl="parChTrans1D4" presStyleIdx="0" presStyleCnt="2"/>
      <dgm:spPr/>
    </dgm:pt>
    <dgm:pt modelId="{5CA02ADB-7039-CB45-B643-1BC9C0A335F3}" type="pres">
      <dgm:prSet presAssocID="{EE56964C-2269-7748-90FD-F2FBF07C90D0}" presName="hierRoot2" presStyleCnt="0">
        <dgm:presLayoutVars>
          <dgm:hierBranch val="init"/>
        </dgm:presLayoutVars>
      </dgm:prSet>
      <dgm:spPr/>
    </dgm:pt>
    <dgm:pt modelId="{14DD4731-E9DA-0C4E-B42E-DCACF59F7606}" type="pres">
      <dgm:prSet presAssocID="{EE56964C-2269-7748-90FD-F2FBF07C90D0}" presName="rootComposite" presStyleCnt="0"/>
      <dgm:spPr/>
    </dgm:pt>
    <dgm:pt modelId="{37A94B54-FB13-EA48-8805-A79F9C7E41FC}" type="pres">
      <dgm:prSet presAssocID="{EE56964C-2269-7748-90FD-F2FBF07C90D0}" presName="rootText" presStyleLbl="node4" presStyleIdx="0" presStyleCnt="2" custScaleX="112820" custScaleY="86095" custLinFactNeighborX="-292" custLinFactNeighborY="15668">
        <dgm:presLayoutVars>
          <dgm:chPref val="3"/>
        </dgm:presLayoutVars>
      </dgm:prSet>
      <dgm:spPr/>
    </dgm:pt>
    <dgm:pt modelId="{C65F3340-283B-044E-B274-451566567EF3}" type="pres">
      <dgm:prSet presAssocID="{EE56964C-2269-7748-90FD-F2FBF07C90D0}" presName="rootConnector" presStyleLbl="node4" presStyleIdx="0" presStyleCnt="2"/>
      <dgm:spPr/>
    </dgm:pt>
    <dgm:pt modelId="{0DDE1461-3B83-C140-909C-7261ABC826BA}" type="pres">
      <dgm:prSet presAssocID="{EE56964C-2269-7748-90FD-F2FBF07C90D0}" presName="hierChild4" presStyleCnt="0"/>
      <dgm:spPr/>
    </dgm:pt>
    <dgm:pt modelId="{27CA0A1A-4041-4F62-8DFF-B46FA1378843}" type="pres">
      <dgm:prSet presAssocID="{CAF2109D-8343-454A-A2B5-32540F643F75}" presName="Name37" presStyleLbl="parChTrans1D4" presStyleIdx="1" presStyleCnt="2"/>
      <dgm:spPr/>
    </dgm:pt>
    <dgm:pt modelId="{A7943243-EE17-4980-A974-79CBC0204B2A}" type="pres">
      <dgm:prSet presAssocID="{DA854E58-5D3C-498D-993C-5EF5B2611F8F}" presName="hierRoot2" presStyleCnt="0">
        <dgm:presLayoutVars>
          <dgm:hierBranch val="init"/>
        </dgm:presLayoutVars>
      </dgm:prSet>
      <dgm:spPr/>
    </dgm:pt>
    <dgm:pt modelId="{0C12ABEC-C02F-4FFD-BC09-E9BE8F12264A}" type="pres">
      <dgm:prSet presAssocID="{DA854E58-5D3C-498D-993C-5EF5B2611F8F}" presName="rootComposite" presStyleCnt="0"/>
      <dgm:spPr/>
    </dgm:pt>
    <dgm:pt modelId="{4236286C-0F31-4387-92B8-400AE9536D02}" type="pres">
      <dgm:prSet presAssocID="{DA854E58-5D3C-498D-993C-5EF5B2611F8F}" presName="rootText" presStyleLbl="node4" presStyleIdx="1" presStyleCnt="2" custScaleX="112820" custScaleY="86095" custLinFactNeighborX="-292" custLinFactNeighborY="15668">
        <dgm:presLayoutVars>
          <dgm:chPref val="3"/>
        </dgm:presLayoutVars>
      </dgm:prSet>
      <dgm:spPr/>
    </dgm:pt>
    <dgm:pt modelId="{A9F72F76-3813-4B0D-935C-0BA73151B0DD}" type="pres">
      <dgm:prSet presAssocID="{DA854E58-5D3C-498D-993C-5EF5B2611F8F}" presName="rootConnector" presStyleLbl="node4" presStyleIdx="1" presStyleCnt="2"/>
      <dgm:spPr/>
    </dgm:pt>
    <dgm:pt modelId="{BFBD0AB4-CCB2-4AB7-B67A-012768D4C26F}" type="pres">
      <dgm:prSet presAssocID="{DA854E58-5D3C-498D-993C-5EF5B2611F8F}" presName="hierChild4" presStyleCnt="0"/>
      <dgm:spPr/>
    </dgm:pt>
    <dgm:pt modelId="{68E9DE01-1CEB-4CF3-A554-E91F81B03740}" type="pres">
      <dgm:prSet presAssocID="{DA854E58-5D3C-498D-993C-5EF5B2611F8F}" presName="hierChild5" presStyleCnt="0"/>
      <dgm:spPr/>
    </dgm:pt>
    <dgm:pt modelId="{9F9EBB7E-5A02-1B4A-89FC-196F141035E0}" type="pres">
      <dgm:prSet presAssocID="{EE56964C-2269-7748-90FD-F2FBF07C90D0}" presName="hierChild5" presStyleCnt="0"/>
      <dgm:spPr/>
    </dgm:pt>
    <dgm:pt modelId="{BF522DD0-A873-5E44-AABC-7B27EDBEE7A5}" type="pres">
      <dgm:prSet presAssocID="{9254A6CA-3717-7641-BA17-B73E2456F946}" presName="hierChild5" presStyleCnt="0"/>
      <dgm:spPr/>
    </dgm:pt>
    <dgm:pt modelId="{F8C5024F-B3E4-7947-A2E5-487A7132DF73}" type="pres">
      <dgm:prSet presAssocID="{7E468725-C28B-9E4E-B066-E9BB7266AF33}" presName="Name37" presStyleLbl="parChTrans1D3" presStyleIdx="14" presStyleCnt="19"/>
      <dgm:spPr/>
    </dgm:pt>
    <dgm:pt modelId="{63F4B0F2-8FE1-F146-9346-D28DFA29A2FE}" type="pres">
      <dgm:prSet presAssocID="{53E58CF6-F6B9-C246-939E-2AC2872A65D9}" presName="hierRoot2" presStyleCnt="0">
        <dgm:presLayoutVars>
          <dgm:hierBranch val="init"/>
        </dgm:presLayoutVars>
      </dgm:prSet>
      <dgm:spPr/>
    </dgm:pt>
    <dgm:pt modelId="{9211832A-B377-8D45-9F3B-B2620E469DB9}" type="pres">
      <dgm:prSet presAssocID="{53E58CF6-F6B9-C246-939E-2AC2872A65D9}" presName="rootComposite" presStyleCnt="0"/>
      <dgm:spPr/>
    </dgm:pt>
    <dgm:pt modelId="{109115EA-6F54-6F4D-B00B-C989DD25E1BD}" type="pres">
      <dgm:prSet presAssocID="{53E58CF6-F6B9-C246-939E-2AC2872A65D9}" presName="rootText" presStyleLbl="node3" presStyleIdx="14" presStyleCnt="19" custScaleX="112820" custScaleY="86095" custLinFactNeighborX="-292" custLinFactNeighborY="15668">
        <dgm:presLayoutVars>
          <dgm:chPref val="3"/>
        </dgm:presLayoutVars>
      </dgm:prSet>
      <dgm:spPr/>
    </dgm:pt>
    <dgm:pt modelId="{10BB7B6B-BBB1-B644-A1D7-38734B6ECC19}" type="pres">
      <dgm:prSet presAssocID="{53E58CF6-F6B9-C246-939E-2AC2872A65D9}" presName="rootConnector" presStyleLbl="node3" presStyleIdx="14" presStyleCnt="19"/>
      <dgm:spPr/>
    </dgm:pt>
    <dgm:pt modelId="{C259E129-F89D-3E42-BD1F-E3BA2BCEDED8}" type="pres">
      <dgm:prSet presAssocID="{53E58CF6-F6B9-C246-939E-2AC2872A65D9}" presName="hierChild4" presStyleCnt="0"/>
      <dgm:spPr/>
    </dgm:pt>
    <dgm:pt modelId="{58AB429C-2200-DE4F-91B7-46D014C161FC}" type="pres">
      <dgm:prSet presAssocID="{53E58CF6-F6B9-C246-939E-2AC2872A65D9}" presName="hierChild5" presStyleCnt="0"/>
      <dgm:spPr/>
    </dgm:pt>
    <dgm:pt modelId="{4682114B-09BE-2E4F-97CE-ADC354DBA352}" type="pres">
      <dgm:prSet presAssocID="{04BC444A-E1B9-8E4A-A964-4EB03434DB6D}" presName="hierChild5" presStyleCnt="0"/>
      <dgm:spPr/>
    </dgm:pt>
    <dgm:pt modelId="{8214709E-5704-284D-AD75-A71705FD4F64}" type="pres">
      <dgm:prSet presAssocID="{64873947-C1C8-1145-9E2E-E152405EFD5E}" presName="Name37" presStyleLbl="parChTrans1D2" presStyleIdx="5" presStyleCnt="7"/>
      <dgm:spPr/>
    </dgm:pt>
    <dgm:pt modelId="{3F000F42-BCAC-9B46-8FE2-C74971184837}" type="pres">
      <dgm:prSet presAssocID="{82098D27-0B54-AD44-A6FE-BD3A47605609}" presName="hierRoot2" presStyleCnt="0">
        <dgm:presLayoutVars>
          <dgm:hierBranch val="init"/>
        </dgm:presLayoutVars>
      </dgm:prSet>
      <dgm:spPr/>
    </dgm:pt>
    <dgm:pt modelId="{450638FC-FB6B-8B45-9BB5-F54E5BEAE866}" type="pres">
      <dgm:prSet presAssocID="{82098D27-0B54-AD44-A6FE-BD3A47605609}" presName="rootComposite" presStyleCnt="0"/>
      <dgm:spPr/>
    </dgm:pt>
    <dgm:pt modelId="{D1A900A5-F870-364E-9A7F-275EFC9F6FF9}" type="pres">
      <dgm:prSet presAssocID="{82098D27-0B54-AD44-A6FE-BD3A47605609}" presName="rootText" presStyleLbl="node2" presStyleIdx="5" presStyleCnt="7" custScaleX="112820" custScaleY="86095" custLinFactNeighborX="-594" custLinFactNeighborY="15437">
        <dgm:presLayoutVars>
          <dgm:chPref val="3"/>
        </dgm:presLayoutVars>
      </dgm:prSet>
      <dgm:spPr/>
    </dgm:pt>
    <dgm:pt modelId="{32DF481F-5490-A64D-99A3-D92046F21DA2}" type="pres">
      <dgm:prSet presAssocID="{82098D27-0B54-AD44-A6FE-BD3A47605609}" presName="rootConnector" presStyleLbl="node2" presStyleIdx="5" presStyleCnt="7"/>
      <dgm:spPr/>
    </dgm:pt>
    <dgm:pt modelId="{30BDB1C0-8546-4647-B48E-26F767BE6E9A}" type="pres">
      <dgm:prSet presAssocID="{82098D27-0B54-AD44-A6FE-BD3A47605609}" presName="hierChild4" presStyleCnt="0"/>
      <dgm:spPr/>
    </dgm:pt>
    <dgm:pt modelId="{94AFD28E-EC35-4EFD-904A-7301CFF922D6}" type="pres">
      <dgm:prSet presAssocID="{D8C50167-FE24-49D7-B6E4-9D0FF346663E}" presName="Name37" presStyleLbl="parChTrans1D3" presStyleIdx="15" presStyleCnt="19"/>
      <dgm:spPr/>
    </dgm:pt>
    <dgm:pt modelId="{9B68D7EE-20B0-4AB5-BD9B-855B3B6CED9F}" type="pres">
      <dgm:prSet presAssocID="{01829183-B8B9-4354-B608-9695EE72AF39}" presName="hierRoot2" presStyleCnt="0">
        <dgm:presLayoutVars>
          <dgm:hierBranch val="init"/>
        </dgm:presLayoutVars>
      </dgm:prSet>
      <dgm:spPr/>
    </dgm:pt>
    <dgm:pt modelId="{26C22059-7D41-46FF-B487-F89A7BDFED96}" type="pres">
      <dgm:prSet presAssocID="{01829183-B8B9-4354-B608-9695EE72AF39}" presName="rootComposite" presStyleCnt="0"/>
      <dgm:spPr/>
    </dgm:pt>
    <dgm:pt modelId="{15CA64E1-20D0-4C19-BE71-896EF9150A3D}" type="pres">
      <dgm:prSet presAssocID="{01829183-B8B9-4354-B608-9695EE72AF39}" presName="rootText" presStyleLbl="node3" presStyleIdx="15" presStyleCnt="19" custScaleX="112820" custScaleY="86095" custLinFactNeighborX="-292" custLinFactNeighborY="15668">
        <dgm:presLayoutVars>
          <dgm:chPref val="3"/>
        </dgm:presLayoutVars>
      </dgm:prSet>
      <dgm:spPr/>
    </dgm:pt>
    <dgm:pt modelId="{604DC1FD-8496-4C65-8314-D73D923129C3}" type="pres">
      <dgm:prSet presAssocID="{01829183-B8B9-4354-B608-9695EE72AF39}" presName="rootConnector" presStyleLbl="node3" presStyleIdx="15" presStyleCnt="19"/>
      <dgm:spPr/>
    </dgm:pt>
    <dgm:pt modelId="{D77EDA44-97AF-420A-BC00-3FD1AE58AE05}" type="pres">
      <dgm:prSet presAssocID="{01829183-B8B9-4354-B608-9695EE72AF39}" presName="hierChild4" presStyleCnt="0"/>
      <dgm:spPr/>
    </dgm:pt>
    <dgm:pt modelId="{BB455EBE-72A4-4074-BA7C-E9A81546F0CB}" type="pres">
      <dgm:prSet presAssocID="{01829183-B8B9-4354-B608-9695EE72AF39}" presName="hierChild5" presStyleCnt="0"/>
      <dgm:spPr/>
    </dgm:pt>
    <dgm:pt modelId="{90DB49F8-4062-4EDD-86E0-2BE7A8FED9A8}" type="pres">
      <dgm:prSet presAssocID="{97BE7EB9-9115-41B7-820B-B230C1477646}" presName="Name37" presStyleLbl="parChTrans1D3" presStyleIdx="16" presStyleCnt="19"/>
      <dgm:spPr/>
    </dgm:pt>
    <dgm:pt modelId="{F8C1216B-8C51-477C-BC3B-1EFC1E8CF6F6}" type="pres">
      <dgm:prSet presAssocID="{58817A83-1B54-4E32-8A1F-9175C28AC93B}" presName="hierRoot2" presStyleCnt="0">
        <dgm:presLayoutVars>
          <dgm:hierBranch val="init"/>
        </dgm:presLayoutVars>
      </dgm:prSet>
      <dgm:spPr/>
    </dgm:pt>
    <dgm:pt modelId="{61E1A08C-A952-4EBA-9EF6-E2E6FAD15195}" type="pres">
      <dgm:prSet presAssocID="{58817A83-1B54-4E32-8A1F-9175C28AC93B}" presName="rootComposite" presStyleCnt="0"/>
      <dgm:spPr/>
    </dgm:pt>
    <dgm:pt modelId="{FF2A6CD8-6544-4FF1-BE9F-0DB1B8A00FA5}" type="pres">
      <dgm:prSet presAssocID="{58817A83-1B54-4E32-8A1F-9175C28AC93B}" presName="rootText" presStyleLbl="node3" presStyleIdx="16" presStyleCnt="19" custScaleX="112820" custScaleY="86095" custLinFactNeighborY="0">
        <dgm:presLayoutVars>
          <dgm:chPref val="3"/>
        </dgm:presLayoutVars>
      </dgm:prSet>
      <dgm:spPr/>
    </dgm:pt>
    <dgm:pt modelId="{7466DFE9-3213-46DB-ADE5-742353AF31B3}" type="pres">
      <dgm:prSet presAssocID="{58817A83-1B54-4E32-8A1F-9175C28AC93B}" presName="rootConnector" presStyleLbl="node3" presStyleIdx="16" presStyleCnt="19"/>
      <dgm:spPr/>
    </dgm:pt>
    <dgm:pt modelId="{3D69ADED-2219-4A89-B574-D0ABCBCE9365}" type="pres">
      <dgm:prSet presAssocID="{58817A83-1B54-4E32-8A1F-9175C28AC93B}" presName="hierChild4" presStyleCnt="0"/>
      <dgm:spPr/>
    </dgm:pt>
    <dgm:pt modelId="{B8DC2E6C-8667-4D0D-A2BC-603FA1084463}" type="pres">
      <dgm:prSet presAssocID="{58817A83-1B54-4E32-8A1F-9175C28AC93B}" presName="hierChild5" presStyleCnt="0"/>
      <dgm:spPr/>
    </dgm:pt>
    <dgm:pt modelId="{77434BA8-5662-A345-BA2E-D5D9BA473A9A}" type="pres">
      <dgm:prSet presAssocID="{82098D27-0B54-AD44-A6FE-BD3A47605609}" presName="hierChild5" presStyleCnt="0"/>
      <dgm:spPr/>
    </dgm:pt>
    <dgm:pt modelId="{8BCE6D3B-417B-4FD7-A09C-65655CB59BF3}" type="pres">
      <dgm:prSet presAssocID="{E0EFBCC0-3AF4-48A9-AC6E-C5361445344D}" presName="Name37" presStyleLbl="parChTrans1D2" presStyleIdx="6" presStyleCnt="7"/>
      <dgm:spPr/>
    </dgm:pt>
    <dgm:pt modelId="{3F97CE8B-1565-4E85-A131-23E5A1400935}" type="pres">
      <dgm:prSet presAssocID="{827B8617-5E30-43E9-94F2-F8AB23148497}" presName="hierRoot2" presStyleCnt="0">
        <dgm:presLayoutVars>
          <dgm:hierBranch val="init"/>
        </dgm:presLayoutVars>
      </dgm:prSet>
      <dgm:spPr/>
    </dgm:pt>
    <dgm:pt modelId="{73564780-FFCA-4EEB-9006-F17A6E036587}" type="pres">
      <dgm:prSet presAssocID="{827B8617-5E30-43E9-94F2-F8AB23148497}" presName="rootComposite" presStyleCnt="0"/>
      <dgm:spPr/>
    </dgm:pt>
    <dgm:pt modelId="{C591DDF2-2203-4143-8E9B-869304224D53}" type="pres">
      <dgm:prSet presAssocID="{827B8617-5E30-43E9-94F2-F8AB23148497}" presName="rootText" presStyleLbl="node2" presStyleIdx="6" presStyleCnt="7" custLinFactNeighborX="51" custLinFactNeighborY="13794">
        <dgm:presLayoutVars>
          <dgm:chPref val="3"/>
        </dgm:presLayoutVars>
      </dgm:prSet>
      <dgm:spPr/>
    </dgm:pt>
    <dgm:pt modelId="{9B6E4AC3-B35F-4FED-9B48-BB4DACEA18D4}" type="pres">
      <dgm:prSet presAssocID="{827B8617-5E30-43E9-94F2-F8AB23148497}" presName="rootConnector" presStyleLbl="node2" presStyleIdx="6" presStyleCnt="7"/>
      <dgm:spPr/>
    </dgm:pt>
    <dgm:pt modelId="{CED1C57E-9BDB-4CB9-8D19-7C83FD55C826}" type="pres">
      <dgm:prSet presAssocID="{827B8617-5E30-43E9-94F2-F8AB23148497}" presName="hierChild4" presStyleCnt="0"/>
      <dgm:spPr/>
    </dgm:pt>
    <dgm:pt modelId="{9DEE2A84-5D12-45B0-BBD7-D6A9AFFD8899}" type="pres">
      <dgm:prSet presAssocID="{DD5EDDE2-02A1-4E63-AC98-AEEB88A585D5}" presName="Name37" presStyleLbl="parChTrans1D3" presStyleIdx="17" presStyleCnt="19"/>
      <dgm:spPr/>
    </dgm:pt>
    <dgm:pt modelId="{9185EFAB-A245-4500-90E5-8253FB5E39BA}" type="pres">
      <dgm:prSet presAssocID="{960E0D8D-05F8-404C-8927-61DD7654E8FE}" presName="hierRoot2" presStyleCnt="0">
        <dgm:presLayoutVars>
          <dgm:hierBranch val="init"/>
        </dgm:presLayoutVars>
      </dgm:prSet>
      <dgm:spPr/>
    </dgm:pt>
    <dgm:pt modelId="{4D96714C-CC89-4931-BEBA-10863BEECE65}" type="pres">
      <dgm:prSet presAssocID="{960E0D8D-05F8-404C-8927-61DD7654E8FE}" presName="rootComposite" presStyleCnt="0"/>
      <dgm:spPr/>
    </dgm:pt>
    <dgm:pt modelId="{FB060CDE-5DD0-412F-97CC-7539C6064715}" type="pres">
      <dgm:prSet presAssocID="{960E0D8D-05F8-404C-8927-61DD7654E8FE}" presName="rootText" presStyleLbl="node3" presStyleIdx="17" presStyleCnt="19">
        <dgm:presLayoutVars>
          <dgm:chPref val="3"/>
        </dgm:presLayoutVars>
      </dgm:prSet>
      <dgm:spPr/>
    </dgm:pt>
    <dgm:pt modelId="{ADAA3ED2-F89E-40B7-AFBE-162B877A4C2C}" type="pres">
      <dgm:prSet presAssocID="{960E0D8D-05F8-404C-8927-61DD7654E8FE}" presName="rootConnector" presStyleLbl="node3" presStyleIdx="17" presStyleCnt="19"/>
      <dgm:spPr/>
    </dgm:pt>
    <dgm:pt modelId="{C2680600-AEA4-4841-858E-DD6B6A645CAB}" type="pres">
      <dgm:prSet presAssocID="{960E0D8D-05F8-404C-8927-61DD7654E8FE}" presName="hierChild4" presStyleCnt="0"/>
      <dgm:spPr/>
    </dgm:pt>
    <dgm:pt modelId="{215AE90E-B53C-43EB-8C93-D422D802B675}" type="pres">
      <dgm:prSet presAssocID="{960E0D8D-05F8-404C-8927-61DD7654E8FE}" presName="hierChild5" presStyleCnt="0"/>
      <dgm:spPr/>
    </dgm:pt>
    <dgm:pt modelId="{495B3846-A7C5-4B2D-8F0C-523EA1FA199B}" type="pres">
      <dgm:prSet presAssocID="{E7243483-CFD7-4950-ADE5-5EB5D35FB958}" presName="Name37" presStyleLbl="parChTrans1D3" presStyleIdx="18" presStyleCnt="19"/>
      <dgm:spPr/>
    </dgm:pt>
    <dgm:pt modelId="{FE1B8190-4E78-47F9-B613-0E3050BA57F8}" type="pres">
      <dgm:prSet presAssocID="{D2FB5FA4-178B-421D-BDE5-54C437D26F49}" presName="hierRoot2" presStyleCnt="0">
        <dgm:presLayoutVars>
          <dgm:hierBranch val="init"/>
        </dgm:presLayoutVars>
      </dgm:prSet>
      <dgm:spPr/>
    </dgm:pt>
    <dgm:pt modelId="{AABF5970-47D2-4980-9D8A-0EDFEE7760B3}" type="pres">
      <dgm:prSet presAssocID="{D2FB5FA4-178B-421D-BDE5-54C437D26F49}" presName="rootComposite" presStyleCnt="0"/>
      <dgm:spPr/>
    </dgm:pt>
    <dgm:pt modelId="{C12DCAA8-FCE8-4773-AE44-90A3AE99214A}" type="pres">
      <dgm:prSet presAssocID="{D2FB5FA4-178B-421D-BDE5-54C437D26F49}" presName="rootText" presStyleLbl="node3" presStyleIdx="18" presStyleCnt="19">
        <dgm:presLayoutVars>
          <dgm:chPref val="3"/>
        </dgm:presLayoutVars>
      </dgm:prSet>
      <dgm:spPr/>
    </dgm:pt>
    <dgm:pt modelId="{A2F48C41-DF59-42EE-A50E-5F10EB1F3874}" type="pres">
      <dgm:prSet presAssocID="{D2FB5FA4-178B-421D-BDE5-54C437D26F49}" presName="rootConnector" presStyleLbl="node3" presStyleIdx="18" presStyleCnt="19"/>
      <dgm:spPr/>
    </dgm:pt>
    <dgm:pt modelId="{0B8D9FA6-5A66-47FF-8EC4-573D5B9BFBA6}" type="pres">
      <dgm:prSet presAssocID="{D2FB5FA4-178B-421D-BDE5-54C437D26F49}" presName="hierChild4" presStyleCnt="0"/>
      <dgm:spPr/>
    </dgm:pt>
    <dgm:pt modelId="{851D0421-6BEC-4EE0-B35D-30CC8556D1E1}" type="pres">
      <dgm:prSet presAssocID="{D2FB5FA4-178B-421D-BDE5-54C437D26F49}" presName="hierChild5" presStyleCnt="0"/>
      <dgm:spPr/>
    </dgm:pt>
    <dgm:pt modelId="{29D57D17-C3BB-445D-9037-34D9D0AD26D5}" type="pres">
      <dgm:prSet presAssocID="{827B8617-5E30-43E9-94F2-F8AB23148497}" presName="hierChild5" presStyleCnt="0"/>
      <dgm:spPr/>
    </dgm:pt>
    <dgm:pt modelId="{F066213D-6B2B-4542-B1B5-C1AA6141E37E}" type="pres">
      <dgm:prSet presAssocID="{4B03A5B3-FB87-E943-A2B3-32FB77D75D04}" presName="hierChild3" presStyleCnt="0"/>
      <dgm:spPr/>
    </dgm:pt>
  </dgm:ptLst>
  <dgm:cxnLst>
    <dgm:cxn modelId="{3EEA1000-FB9F-47B1-8F0A-3A821DBE2A47}" type="presOf" srcId="{949591D1-14AD-2542-9F4A-86E0278F66F4}" destId="{55E1D9FF-F2DC-B24F-8BA5-0ED851108C56}" srcOrd="1" destOrd="0" presId="urn:microsoft.com/office/officeart/2005/8/layout/orgChart1"/>
    <dgm:cxn modelId="{8DBC9400-7D52-4DBC-B135-36A3E80F8BE6}" type="presOf" srcId="{A3E73386-B948-493F-902A-AE5680C8ADCA}" destId="{F1E1CCA6-B5CA-448F-A6C9-A9EAD4F0B461}" srcOrd="0" destOrd="0" presId="urn:microsoft.com/office/officeart/2005/8/layout/orgChart1"/>
    <dgm:cxn modelId="{B207E000-ED6C-7F4B-8D33-CC730242C3C2}" srcId="{4B03A5B3-FB87-E943-A2B3-32FB77D75D04}" destId="{A3F9823F-838C-4343-A97D-8142E2F62423}" srcOrd="3" destOrd="0" parTransId="{49B6E850-214B-9442-95AB-095967991A45}" sibTransId="{BA87AA99-05A4-5646-8B0D-76C9B2B39975}"/>
    <dgm:cxn modelId="{4FAC7A02-9CFE-4EC4-BFA7-E1106B3CC83F}" type="presOf" srcId="{82098D27-0B54-AD44-A6FE-BD3A47605609}" destId="{D1A900A5-F870-364E-9A7F-275EFC9F6FF9}" srcOrd="0" destOrd="0" presId="urn:microsoft.com/office/officeart/2005/8/layout/orgChart1"/>
    <dgm:cxn modelId="{4D16CD02-6309-4B2F-AEF7-870AC5480A58}" type="presOf" srcId="{D8C50167-FE24-49D7-B6E4-9D0FF346663E}" destId="{94AFD28E-EC35-4EFD-904A-7301CFF922D6}" srcOrd="0" destOrd="0" presId="urn:microsoft.com/office/officeart/2005/8/layout/orgChart1"/>
    <dgm:cxn modelId="{2D8ADF06-BF06-451A-9BE4-7E8C55DA19D0}" type="presOf" srcId="{3A3025F5-94BA-46B6-8845-3EB1232C4401}" destId="{9090CA12-C3F6-4102-9156-E5E7D9E5B2B8}" srcOrd="1" destOrd="0" presId="urn:microsoft.com/office/officeart/2005/8/layout/orgChart1"/>
    <dgm:cxn modelId="{DFD0F808-D49A-4E62-8331-C17CFF03B9CC}" type="presOf" srcId="{97BE7EB9-9115-41B7-820B-B230C1477646}" destId="{90DB49F8-4062-4EDD-86E0-2BE7A8FED9A8}" srcOrd="0" destOrd="0" presId="urn:microsoft.com/office/officeart/2005/8/layout/orgChart1"/>
    <dgm:cxn modelId="{20AEBA0B-8F5A-4D9F-A208-C48D1CFA688F}" type="presOf" srcId="{A3F9823F-838C-4343-A97D-8142E2F62423}" destId="{709FA4AA-76C5-9F4E-9678-5F82DEF7441A}" srcOrd="0" destOrd="0" presId="urn:microsoft.com/office/officeart/2005/8/layout/orgChart1"/>
    <dgm:cxn modelId="{780DB40C-E54C-45F7-A17F-1E193E3FF467}" type="presOf" srcId="{4A6E924C-2F52-49E6-A1CC-7CF90D4EF4D6}" destId="{847EE679-A63B-473F-A5CF-801AACAF3C63}" srcOrd="0" destOrd="0" presId="urn:microsoft.com/office/officeart/2005/8/layout/orgChart1"/>
    <dgm:cxn modelId="{4786FC0F-20B5-4275-9807-29AD2E67FECB}" type="presOf" srcId="{A1D00132-0F7F-4860-8ABC-0F1C4AF94B55}" destId="{8EBDBB26-FA1A-4866-976D-123A98FA6F1B}" srcOrd="0" destOrd="0" presId="urn:microsoft.com/office/officeart/2005/8/layout/orgChart1"/>
    <dgm:cxn modelId="{55835710-E7F9-45F8-87C7-C5AB82D6A956}" type="presOf" srcId="{14BC58BE-FE75-9345-BE8E-43DC45CC8166}" destId="{F979B2D1-A581-6E40-8907-7268EDCD05BD}" srcOrd="1" destOrd="0" presId="urn:microsoft.com/office/officeart/2005/8/layout/orgChart1"/>
    <dgm:cxn modelId="{1AB07911-0F2F-448E-ADCE-FCFB58E2CDF1}" type="presOf" srcId="{D2FB5FA4-178B-421D-BDE5-54C437D26F49}" destId="{A2F48C41-DF59-42EE-A50E-5F10EB1F3874}" srcOrd="1" destOrd="0" presId="urn:microsoft.com/office/officeart/2005/8/layout/orgChart1"/>
    <dgm:cxn modelId="{B49CA011-0A1C-470D-9B13-53BE30BE22A7}" type="presOf" srcId="{0A7EB5B1-E2BF-42FA-97CE-A1ED28BC3CBD}" destId="{B33D822C-7F8E-45EF-B4A4-BA2540D63323}" srcOrd="1" destOrd="0" presId="urn:microsoft.com/office/officeart/2005/8/layout/orgChart1"/>
    <dgm:cxn modelId="{DC84A611-1B3B-4524-A167-F71C9FBF2294}" type="presOf" srcId="{AFF9F6A4-93E9-104D-92AF-B24E8C596ADC}" destId="{2F2470BB-38A2-4E41-B2DA-B48A75BA7AB1}" srcOrd="0" destOrd="0" presId="urn:microsoft.com/office/officeart/2005/8/layout/orgChart1"/>
    <dgm:cxn modelId="{95D0DD11-F2B1-49E7-B2F8-D4F26FC2776C}" type="presOf" srcId="{960E0D8D-05F8-404C-8927-61DD7654E8FE}" destId="{ADAA3ED2-F89E-40B7-AFBE-162B877A4C2C}" srcOrd="1" destOrd="0" presId="urn:microsoft.com/office/officeart/2005/8/layout/orgChart1"/>
    <dgm:cxn modelId="{1DF01B14-085E-4B6E-AA9D-B0534855141B}" type="presOf" srcId="{53E58CF6-F6B9-C246-939E-2AC2872A65D9}" destId="{10BB7B6B-BBB1-B644-A1D7-38734B6ECC19}" srcOrd="1" destOrd="0" presId="urn:microsoft.com/office/officeart/2005/8/layout/orgChart1"/>
    <dgm:cxn modelId="{EC745719-DB48-954C-9A65-8EF969CF3E61}" srcId="{949591D1-14AD-2542-9F4A-86E0278F66F4}" destId="{2DB4DE04-B90B-C745-ACAB-A8AAA0D2FFC2}" srcOrd="2" destOrd="0" parTransId="{AF796AB1-6898-2642-99F2-B1F28BBEC8DB}" sibTransId="{7CE4EBAD-28D5-D540-A289-71197456EA9F}"/>
    <dgm:cxn modelId="{C52BA019-1395-4F46-84D8-7CAA1A1CCE03}" srcId="{82098D27-0B54-AD44-A6FE-BD3A47605609}" destId="{01829183-B8B9-4354-B608-9695EE72AF39}" srcOrd="0" destOrd="0" parTransId="{D8C50167-FE24-49D7-B6E4-9D0FF346663E}" sibTransId="{EAB1890D-3C71-428D-9BE2-445665793791}"/>
    <dgm:cxn modelId="{7270CE20-A901-4E0D-AE5A-C6C6809037C4}" type="presOf" srcId="{6B4F8E05-6BF6-453E-A2D8-F1D1826AD558}" destId="{B94C8036-0D61-4367-9828-1E9AD21C1536}" srcOrd="0" destOrd="0" presId="urn:microsoft.com/office/officeart/2005/8/layout/orgChart1"/>
    <dgm:cxn modelId="{D9861021-F9CC-4DBE-90A8-799043552F8F}" type="presOf" srcId="{EE56964C-2269-7748-90FD-F2FBF07C90D0}" destId="{C65F3340-283B-044E-B274-451566567EF3}" srcOrd="1" destOrd="0" presId="urn:microsoft.com/office/officeart/2005/8/layout/orgChart1"/>
    <dgm:cxn modelId="{795A3D21-E696-4A53-8F22-32FF36119140}" type="presOf" srcId="{08F6CE2D-63F3-4679-858D-BDB22BC58819}" destId="{53717AD0-CFA4-4A9C-B6F3-C991A181E617}" srcOrd="0" destOrd="0" presId="urn:microsoft.com/office/officeart/2005/8/layout/orgChart1"/>
    <dgm:cxn modelId="{99175522-3CF2-420D-AD8F-8D353220D848}" type="presOf" srcId="{1A5BC874-2F1F-024E-BA93-F15D5B41694D}" destId="{B79AF090-C5A3-BD4C-A06F-6B78FA0ACF21}" srcOrd="0" destOrd="0" presId="urn:microsoft.com/office/officeart/2005/8/layout/orgChart1"/>
    <dgm:cxn modelId="{E53D0D25-951B-3140-B46F-B461E9BA51EA}" srcId="{4B03A5B3-FB87-E943-A2B3-32FB77D75D04}" destId="{82098D27-0B54-AD44-A6FE-BD3A47605609}" srcOrd="5" destOrd="0" parTransId="{64873947-C1C8-1145-9E2E-E152405EFD5E}" sibTransId="{5AD9EAF4-C9DE-DA43-BA6D-E76DFF926EDC}"/>
    <dgm:cxn modelId="{F7736127-E397-1D46-B5C6-D22B986E0447}" srcId="{EBCA6AE8-9545-3144-8A66-9CDFED58E174}" destId="{4B03A5B3-FB87-E943-A2B3-32FB77D75D04}" srcOrd="0" destOrd="0" parTransId="{42C44630-0D9C-2347-8557-8F246C36DCFC}" sibTransId="{17BAC14E-0FEA-7A47-B6BC-FC5867084974}"/>
    <dgm:cxn modelId="{1712392A-C06B-472D-ACFF-CA88B8D783AD}" type="presOf" srcId="{6B44A025-92AF-4F09-9911-BEC99908F456}" destId="{AE01415F-EA32-423E-9F4D-FF68894E3170}" srcOrd="1" destOrd="0" presId="urn:microsoft.com/office/officeart/2005/8/layout/orgChart1"/>
    <dgm:cxn modelId="{B7B08131-71B3-4D13-8F90-7A5F248CEB60}" type="presOf" srcId="{CAF2109D-8343-454A-A2B5-32540F643F75}" destId="{27CA0A1A-4041-4F62-8DFF-B46FA1378843}" srcOrd="0" destOrd="0" presId="urn:microsoft.com/office/officeart/2005/8/layout/orgChart1"/>
    <dgm:cxn modelId="{6E682F33-5863-0041-B9C7-DC1BFDEC6F6F}" srcId="{A3F9823F-838C-4343-A97D-8142E2F62423}" destId="{E191B97A-B041-9947-83C4-908D7C8BBB14}" srcOrd="0" destOrd="0" parTransId="{E391B6A1-AEB1-A946-B6F4-15EE7EBF19CC}" sibTransId="{7DFCB414-A2FF-B44E-ACAE-30E3C1B1571B}"/>
    <dgm:cxn modelId="{A4745439-ED38-4755-998B-3A19656DF245}" srcId="{4B03A5B3-FB87-E943-A2B3-32FB77D75D04}" destId="{0A7EB5B1-E2BF-42FA-97CE-A1ED28BC3CBD}" srcOrd="2" destOrd="0" parTransId="{A3E73386-B948-493F-902A-AE5680C8ADCA}" sibTransId="{3707D7C4-FA64-4434-89C0-4F763F2DCCDD}"/>
    <dgm:cxn modelId="{CA5EB839-85E5-4583-AD40-6DEFB11A2AD4}" srcId="{0A7EB5B1-E2BF-42FA-97CE-A1ED28BC3CBD}" destId="{3411EA7A-E3D0-4123-B527-1468265BD6D8}" srcOrd="3" destOrd="0" parTransId="{AD001CC4-F8AF-4132-94D9-39FC09E93C17}" sibTransId="{DE71D3A3-0B0B-48E0-BA1F-D4509EF1F42C}"/>
    <dgm:cxn modelId="{0B14D93E-6390-4228-81D4-507B56D4EF2D}" type="presOf" srcId="{960E0D8D-05F8-404C-8927-61DD7654E8FE}" destId="{FB060CDE-5DD0-412F-97CC-7539C6064715}" srcOrd="0" destOrd="0" presId="urn:microsoft.com/office/officeart/2005/8/layout/orgChart1"/>
    <dgm:cxn modelId="{5F42BE5B-EA62-4CF3-9B7E-F6530066214F}" type="presOf" srcId="{5DA6EAB2-AA01-41BE-B15E-968132EAC57C}" destId="{F8BDDF5C-3332-492C-BD06-808B23E785E3}" srcOrd="1" destOrd="0" presId="urn:microsoft.com/office/officeart/2005/8/layout/orgChart1"/>
    <dgm:cxn modelId="{1DEE645F-655A-45AA-9D40-AFDF68D9987F}" type="presOf" srcId="{53E58CF6-F6B9-C246-939E-2AC2872A65D9}" destId="{109115EA-6F54-6F4D-B00B-C989DD25E1BD}" srcOrd="0" destOrd="0" presId="urn:microsoft.com/office/officeart/2005/8/layout/orgChart1"/>
    <dgm:cxn modelId="{1E74EF5F-2B7A-4BA0-85EC-E875D32A3B34}" type="presOf" srcId="{9FC190B7-6B8E-4A06-9DC2-A7B027F62C58}" destId="{92B94817-75E0-4172-AA75-1F15CD46DF4F}" srcOrd="0" destOrd="0" presId="urn:microsoft.com/office/officeart/2005/8/layout/orgChart1"/>
    <dgm:cxn modelId="{C97AF75F-E664-2944-A7FE-928A153A7CAD}" type="presOf" srcId="{EBCA6AE8-9545-3144-8A66-9CDFED58E174}" destId="{DECA650A-4925-6641-9E81-5131AAFD40E3}" srcOrd="0" destOrd="0" presId="urn:microsoft.com/office/officeart/2005/8/layout/orgChart1"/>
    <dgm:cxn modelId="{57305662-F6B6-4280-907B-9AB4C4FBF46A}" type="presOf" srcId="{D2FB5FA4-178B-421D-BDE5-54C437D26F49}" destId="{C12DCAA8-FCE8-4773-AE44-90A3AE99214A}" srcOrd="0" destOrd="0" presId="urn:microsoft.com/office/officeart/2005/8/layout/orgChart1"/>
    <dgm:cxn modelId="{83000A43-99A8-4296-808A-796A334FA6C7}" type="presOf" srcId="{DD5EDDE2-02A1-4E63-AC98-AEEB88A585D5}" destId="{9DEE2A84-5D12-45B0-BBD7-D6A9AFFD8899}" srcOrd="0" destOrd="0" presId="urn:microsoft.com/office/officeart/2005/8/layout/orgChart1"/>
    <dgm:cxn modelId="{4BDB4D63-7088-49B1-A7C3-6CB263E1F78E}" type="presOf" srcId="{DA854E58-5D3C-498D-993C-5EF5B2611F8F}" destId="{4236286C-0F31-4387-92B8-400AE9536D02}" srcOrd="0" destOrd="0" presId="urn:microsoft.com/office/officeart/2005/8/layout/orgChart1"/>
    <dgm:cxn modelId="{64E2D443-EE0C-456A-AF73-BA342FB08E64}" type="presOf" srcId="{E7243483-CFD7-4950-ADE5-5EB5D35FB958}" destId="{495B3846-A7C5-4B2D-8F0C-523EA1FA199B}" srcOrd="0" destOrd="0" presId="urn:microsoft.com/office/officeart/2005/8/layout/orgChart1"/>
    <dgm:cxn modelId="{BBB82266-B431-458B-A79F-87A35F3B15ED}" type="presOf" srcId="{E191B97A-B041-9947-83C4-908D7C8BBB14}" destId="{4C80E2AC-512B-9B4C-A7F9-F84D6A64C311}" srcOrd="1" destOrd="0" presId="urn:microsoft.com/office/officeart/2005/8/layout/orgChart1"/>
    <dgm:cxn modelId="{94D11B67-BE65-4FBC-B7C2-14A6B215CA60}" type="presOf" srcId="{A3F9823F-838C-4343-A97D-8142E2F62423}" destId="{7120E9CD-AE41-9C43-8F60-2894EFD5B66D}" srcOrd="1" destOrd="0" presId="urn:microsoft.com/office/officeart/2005/8/layout/orgChart1"/>
    <dgm:cxn modelId="{3AE6974A-C89A-4BBB-91B4-051E369CEBFD}" type="presOf" srcId="{E0EFBCC0-3AF4-48A9-AC6E-C5361445344D}" destId="{8BCE6D3B-417B-4FD7-A09C-65655CB59BF3}" srcOrd="0" destOrd="0" presId="urn:microsoft.com/office/officeart/2005/8/layout/orgChart1"/>
    <dgm:cxn modelId="{D8C6026C-F945-364D-BA65-18B193A2803D}" srcId="{04BC444A-E1B9-8E4A-A964-4EB03434DB6D}" destId="{53E58CF6-F6B9-C246-939E-2AC2872A65D9}" srcOrd="1" destOrd="0" parTransId="{7E468725-C28B-9E4E-B066-E9BB7266AF33}" sibTransId="{40630DBD-7802-8E44-90CA-F60F4408C980}"/>
    <dgm:cxn modelId="{F64FAE6C-5493-4931-BB75-182F7CE081D9}" srcId="{4B03A5B3-FB87-E943-A2B3-32FB77D75D04}" destId="{827B8617-5E30-43E9-94F2-F8AB23148497}" srcOrd="6" destOrd="0" parTransId="{E0EFBCC0-3AF4-48A9-AC6E-C5361445344D}" sibTransId="{D7A19163-6EA5-497D-AF20-7AF0251E57B2}"/>
    <dgm:cxn modelId="{D2F6134E-1BF1-4D68-B77E-7AF7FDB6D5EF}" type="presOf" srcId="{DA854E58-5D3C-498D-993C-5EF5B2611F8F}" destId="{A9F72F76-3813-4B0D-935C-0BA73151B0DD}" srcOrd="1" destOrd="0" presId="urn:microsoft.com/office/officeart/2005/8/layout/orgChart1"/>
    <dgm:cxn modelId="{5264704E-FE4F-7B47-914D-9AA4B8CC44DA}" srcId="{4B03A5B3-FB87-E943-A2B3-32FB77D75D04}" destId="{04BC444A-E1B9-8E4A-A964-4EB03434DB6D}" srcOrd="4" destOrd="0" parTransId="{79787822-7512-9246-9CE1-DFABE1960CF9}" sibTransId="{F8C6CB58-DF94-B64A-BA5E-C7B8CD29F859}"/>
    <dgm:cxn modelId="{51DADC4E-90AA-4AB8-93D4-8135ACA2A814}" type="presOf" srcId="{4A6E924C-2F52-49E6-A1CC-7CF90D4EF4D6}" destId="{5AB8A781-ADA0-4921-B609-5E76C3B1644D}" srcOrd="1" destOrd="0" presId="urn:microsoft.com/office/officeart/2005/8/layout/orgChart1"/>
    <dgm:cxn modelId="{A8E5F550-0A6C-4710-90AF-CB201E4BEB87}" type="presOf" srcId="{58817A83-1B54-4E32-8A1F-9175C28AC93B}" destId="{FF2A6CD8-6544-4FF1-BE9F-0DB1B8A00FA5}" srcOrd="0" destOrd="0" presId="urn:microsoft.com/office/officeart/2005/8/layout/orgChart1"/>
    <dgm:cxn modelId="{E02CCD51-6E8D-4616-99CF-FE0A8791DD61}" type="presOf" srcId="{CE49BCE0-ED8B-C348-9211-B034405C5804}" destId="{693EC3EB-0465-B34F-AAA7-F954D954D6DB}" srcOrd="0" destOrd="0" presId="urn:microsoft.com/office/officeart/2005/8/layout/orgChart1"/>
    <dgm:cxn modelId="{47381372-7306-4FFA-B21A-690D9BD35C46}" srcId="{A3F9823F-838C-4343-A97D-8142E2F62423}" destId="{4A6E924C-2F52-49E6-A1CC-7CF90D4EF4D6}" srcOrd="2" destOrd="0" parTransId="{414FBDC2-D62E-4E6B-B21D-0324920E8DC4}" sibTransId="{675F65CE-F637-4865-B8D0-E242226B8954}"/>
    <dgm:cxn modelId="{117F1F72-7C0F-488B-B43A-40480B51BE7E}" type="presOf" srcId="{2EE59AA3-FCD3-3146-B894-942FC4165489}" destId="{57B24AE9-B0ED-AF41-964D-187831FBE1D1}" srcOrd="0" destOrd="0" presId="urn:microsoft.com/office/officeart/2005/8/layout/orgChart1"/>
    <dgm:cxn modelId="{2E0D0154-48B3-4252-B4EC-2B8BF994EA9E}" type="presOf" srcId="{B89912AD-E264-3345-A114-98D2DAA7A207}" destId="{77E58118-9116-2B43-821D-0D0EC07C4780}" srcOrd="0" destOrd="0" presId="urn:microsoft.com/office/officeart/2005/8/layout/orgChart1"/>
    <dgm:cxn modelId="{50940E56-AC6A-4808-A28C-AB5594563E38}" type="presOf" srcId="{5AF21C8B-D982-49EB-A6A3-A55EBAD5AE2B}" destId="{4FB3BCAE-E59B-4871-8138-C04932D1D4C5}" srcOrd="0" destOrd="0" presId="urn:microsoft.com/office/officeart/2005/8/layout/orgChart1"/>
    <dgm:cxn modelId="{7D360A7C-A32B-4FBA-B38D-7476EB840188}" srcId="{A3F9823F-838C-4343-A97D-8142E2F62423}" destId="{5AF21C8B-D982-49EB-A6A3-A55EBAD5AE2B}" srcOrd="3" destOrd="0" parTransId="{9FC190B7-6B8E-4A06-9DC2-A7B027F62C58}" sibTransId="{79E9A20A-606E-4BBA-83EC-1846573FBB01}"/>
    <dgm:cxn modelId="{AC85047E-6C71-411A-A795-21B786C973F6}" type="presOf" srcId="{3411EA7A-E3D0-4123-B527-1468265BD6D8}" destId="{F00E08B1-B941-4001-81B9-9DC8123CDA8C}" srcOrd="1" destOrd="0" presId="urn:microsoft.com/office/officeart/2005/8/layout/orgChart1"/>
    <dgm:cxn modelId="{2C578782-2340-4859-A62D-D3045D9FDD7D}" type="presOf" srcId="{949591D1-14AD-2542-9F4A-86E0278F66F4}" destId="{5342E13A-1C38-4C43-B821-A2B5C67007EF}" srcOrd="0" destOrd="0" presId="urn:microsoft.com/office/officeart/2005/8/layout/orgChart1"/>
    <dgm:cxn modelId="{5DBA0983-BF85-4C4E-A600-3DABDD07D3D3}" type="presOf" srcId="{4AB5B305-30F4-40A4-92C9-9615C4F0ABB0}" destId="{945899B2-BDDB-43C0-B85D-163CB087ED36}" srcOrd="0" destOrd="0" presId="urn:microsoft.com/office/officeart/2005/8/layout/orgChart1"/>
    <dgm:cxn modelId="{DC13DF84-944E-46E0-BA96-4E79010E43E3}" type="presOf" srcId="{6B4F8E05-6BF6-453E-A2D8-F1D1826AD558}" destId="{B100E119-E5DD-4278-BABB-F383F85AF65A}" srcOrd="1" destOrd="0" presId="urn:microsoft.com/office/officeart/2005/8/layout/orgChart1"/>
    <dgm:cxn modelId="{6EEBE984-CA26-4E75-AD81-842B6573BC3F}" type="presOf" srcId="{A1D00132-0F7F-4860-8ABC-0F1C4AF94B55}" destId="{2A05581B-748E-49CF-A655-5A8E2EACF5D8}" srcOrd="1" destOrd="0" presId="urn:microsoft.com/office/officeart/2005/8/layout/orgChart1"/>
    <dgm:cxn modelId="{DDFF9B87-7D4E-4945-8DC2-25023BFD4DB7}" type="presOf" srcId="{9529E09F-4E2D-4FD9-94BE-BF34FBF0E33F}" destId="{3ACCED4D-B2D2-4CD2-9167-8E16C94C73CC}" srcOrd="0" destOrd="0" presId="urn:microsoft.com/office/officeart/2005/8/layout/orgChart1"/>
    <dgm:cxn modelId="{8867EC89-FA2F-4585-A545-27D39D8DBAA2}" type="presOf" srcId="{04BC444A-E1B9-8E4A-A964-4EB03434DB6D}" destId="{D07845B2-D240-3547-A33D-F80285306458}" srcOrd="1" destOrd="0" presId="urn:microsoft.com/office/officeart/2005/8/layout/orgChart1"/>
    <dgm:cxn modelId="{39CA9D8B-1A76-400F-A2CC-B9583AF88F57}" type="presOf" srcId="{58817A83-1B54-4E32-8A1F-9175C28AC93B}" destId="{7466DFE9-3213-46DB-ADE5-742353AF31B3}" srcOrd="1" destOrd="0" presId="urn:microsoft.com/office/officeart/2005/8/layout/orgChart1"/>
    <dgm:cxn modelId="{BAD01E8E-4695-49E1-91E8-33CCA291382C}" srcId="{3A3025F5-94BA-46B6-8845-3EB1232C4401}" destId="{5DA6EAB2-AA01-41BE-B15E-968132EAC57C}" srcOrd="0" destOrd="0" parTransId="{B3B53615-DAC2-4458-B26B-439DC4DE5620}" sibTransId="{C789B0D2-14FA-45DA-A8CA-6B490F1CFD69}"/>
    <dgm:cxn modelId="{362BC791-778F-47C5-B90D-7ADF45BAC4F4}" type="presOf" srcId="{82098D27-0B54-AD44-A6FE-BD3A47605609}" destId="{32DF481F-5490-A64D-99A3-D92046F21DA2}" srcOrd="1" destOrd="0" presId="urn:microsoft.com/office/officeart/2005/8/layout/orgChart1"/>
    <dgm:cxn modelId="{8BF42E92-DC2A-44C0-9CC1-09298B62BF8E}" srcId="{0A7EB5B1-E2BF-42FA-97CE-A1ED28BC3CBD}" destId="{6B4F8E05-6BF6-453E-A2D8-F1D1826AD558}" srcOrd="0" destOrd="0" parTransId="{F9089EC7-3A4D-4DD1-8DC8-0D58064DAA33}" sibTransId="{B54ABA5D-C2CF-44DB-8AA6-4B59DBE7F377}"/>
    <dgm:cxn modelId="{B6DA5E95-7E63-4597-8E46-32E5C6AC9F70}" type="presOf" srcId="{5BD79B90-BD33-48BF-846B-3094DE514CDB}" destId="{B32C6C0B-9A9E-4FC4-AAD0-F9AAADCE02ED}" srcOrd="0" destOrd="0" presId="urn:microsoft.com/office/officeart/2005/8/layout/orgChart1"/>
    <dgm:cxn modelId="{44C37395-DE1C-4306-82F3-2A103B564903}" type="presOf" srcId="{EE56964C-2269-7748-90FD-F2FBF07C90D0}" destId="{37A94B54-FB13-EA48-8805-A79F9C7E41FC}" srcOrd="0" destOrd="0" presId="urn:microsoft.com/office/officeart/2005/8/layout/orgChart1"/>
    <dgm:cxn modelId="{E5A7C595-826D-4F63-95A7-E62B4D027E1E}" type="presOf" srcId="{9254A6CA-3717-7641-BA17-B73E2456F946}" destId="{A26034A3-185A-0445-A756-8FE854ED65A4}" srcOrd="1" destOrd="0" presId="urn:microsoft.com/office/officeart/2005/8/layout/orgChart1"/>
    <dgm:cxn modelId="{DF2B8398-44D6-44C2-9709-6F89162B10A7}" type="presOf" srcId="{F9089EC7-3A4D-4DD1-8DC8-0D58064DAA33}" destId="{A223F4EF-C207-4E73-A1B1-4D1F15A6EAAC}" srcOrd="0" destOrd="0" presId="urn:microsoft.com/office/officeart/2005/8/layout/orgChart1"/>
    <dgm:cxn modelId="{4DE41F9A-BC4C-4663-BC85-A52894988024}" type="presOf" srcId="{9254A6CA-3717-7641-BA17-B73E2456F946}" destId="{C9A4B63C-78DC-064B-A0BF-F853548DD702}" srcOrd="0" destOrd="0" presId="urn:microsoft.com/office/officeart/2005/8/layout/orgChart1"/>
    <dgm:cxn modelId="{6B9E60A0-2222-4E03-A771-FBC265BCF96E}" type="presOf" srcId="{AD001CC4-F8AF-4132-94D9-39FC09E93C17}" destId="{5001705D-BD56-4247-8356-7A2CD0DA8B66}" srcOrd="0" destOrd="0" presId="urn:microsoft.com/office/officeart/2005/8/layout/orgChart1"/>
    <dgm:cxn modelId="{C848CFA1-11DE-4389-925C-8A0E026F4747}" type="presOf" srcId="{4B03A5B3-FB87-E943-A2B3-32FB77D75D04}" destId="{49B86689-67B1-574A-A7F5-633E5DBDC03E}" srcOrd="0" destOrd="0" presId="urn:microsoft.com/office/officeart/2005/8/layout/orgChart1"/>
    <dgm:cxn modelId="{46A1E3A4-9138-2B4B-B791-BAFC1607FFD8}" srcId="{4B03A5B3-FB87-E943-A2B3-32FB77D75D04}" destId="{949591D1-14AD-2542-9F4A-86E0278F66F4}" srcOrd="0" destOrd="0" parTransId="{2EE59AA3-FCD3-3146-B894-942FC4165489}" sibTransId="{7B78BBCB-6EAA-9E42-9FD0-7F92A221D35E}"/>
    <dgm:cxn modelId="{85853AA8-27E6-49D4-B032-25693D1B9A72}" type="presOf" srcId="{3411EA7A-E3D0-4123-B527-1468265BD6D8}" destId="{761A833A-0A23-4FE7-9495-94C2F79FDE43}" srcOrd="0" destOrd="0" presId="urn:microsoft.com/office/officeart/2005/8/layout/orgChart1"/>
    <dgm:cxn modelId="{70A2ADA8-5A70-4433-90BD-E3AAAA9809FA}" type="presOf" srcId="{A7209149-BD45-4FDC-AB1E-153FB4CA39D2}" destId="{7A5A863A-0104-4E20-9AA1-D23A85448E17}" srcOrd="0" destOrd="0" presId="urn:microsoft.com/office/officeart/2005/8/layout/orgChart1"/>
    <dgm:cxn modelId="{8492D6AB-D590-4363-9A4D-515534E598F4}" type="presOf" srcId="{79787822-7512-9246-9CE1-DFABE1960CF9}" destId="{72BBC723-9B7C-334D-A6AA-27FC229642E9}" srcOrd="0" destOrd="0" presId="urn:microsoft.com/office/officeart/2005/8/layout/orgChart1"/>
    <dgm:cxn modelId="{F10E9BAF-258D-4ABF-8626-3035BB001CBA}" type="presOf" srcId="{414FBDC2-D62E-4E6B-B21D-0324920E8DC4}" destId="{4B3AE09D-6CC1-422F-A633-D9B4FB0F3304}" srcOrd="0" destOrd="0" presId="urn:microsoft.com/office/officeart/2005/8/layout/orgChart1"/>
    <dgm:cxn modelId="{FAE9CAAF-4DAE-4EB6-94BF-FBA5C2966088}" type="presOf" srcId="{7E468725-C28B-9E4E-B066-E9BB7266AF33}" destId="{F8C5024F-B3E4-7947-A2E5-487A7132DF73}" srcOrd="0" destOrd="0" presId="urn:microsoft.com/office/officeart/2005/8/layout/orgChart1"/>
    <dgm:cxn modelId="{AB6317B3-24B3-4270-8C06-D65A6720FFCF}" type="presOf" srcId="{2DB4DE04-B90B-C745-ACAB-A8AAA0D2FFC2}" destId="{BE43D0A4-2570-0844-8DDF-B10E94159198}" srcOrd="1" destOrd="0" presId="urn:microsoft.com/office/officeart/2005/8/layout/orgChart1"/>
    <dgm:cxn modelId="{B88C6DB3-B5DC-42E4-8E6B-043CC7B8C6ED}" type="presOf" srcId="{0A7EB5B1-E2BF-42FA-97CE-A1ED28BC3CBD}" destId="{35A8897A-21AC-43D9-92AD-BD3B05691203}" srcOrd="0" destOrd="0" presId="urn:microsoft.com/office/officeart/2005/8/layout/orgChart1"/>
    <dgm:cxn modelId="{8063FDB4-172B-6D47-A8AC-CAA3364F2192}" srcId="{949591D1-14AD-2542-9F4A-86E0278F66F4}" destId="{14BC58BE-FE75-9345-BE8E-43DC45CC8166}" srcOrd="1" destOrd="0" parTransId="{AFF9F6A4-93E9-104D-92AF-B24E8C596ADC}" sibTransId="{5815B84B-4DBD-6C47-BAB7-1C8A63E4FA82}"/>
    <dgm:cxn modelId="{1DE749B5-0727-4635-93CE-9CC8AB5E53AD}" srcId="{827B8617-5E30-43E9-94F2-F8AB23148497}" destId="{D2FB5FA4-178B-421D-BDE5-54C437D26F49}" srcOrd="1" destOrd="0" parTransId="{E7243483-CFD7-4950-ADE5-5EB5D35FB958}" sibTransId="{E8E79202-0A55-4ACD-8938-3500A9BED16F}"/>
    <dgm:cxn modelId="{2D8F9EB6-C3F8-4B2B-816A-D809FAA69169}" srcId="{0A7EB5B1-E2BF-42FA-97CE-A1ED28BC3CBD}" destId="{6B44A025-92AF-4F09-9911-BEC99908F456}" srcOrd="1" destOrd="0" parTransId="{9529E09F-4E2D-4FD9-94BE-BF34FBF0E33F}" sibTransId="{0D6C6C6D-1B07-4C82-AF90-D444812AA748}"/>
    <dgm:cxn modelId="{9A2A0BBA-0BFF-44E0-AA3E-1FF4ACF62769}" type="presOf" srcId="{3A3025F5-94BA-46B6-8845-3EB1232C4401}" destId="{C0D5FE1F-69BE-450F-80A0-D50FB8D9BD69}" srcOrd="0" destOrd="0" presId="urn:microsoft.com/office/officeart/2005/8/layout/orgChart1"/>
    <dgm:cxn modelId="{93490DBB-9F77-4464-92E9-8CFD3EAD7F59}" type="presOf" srcId="{4B03A5B3-FB87-E943-A2B3-32FB77D75D04}" destId="{26FA6962-D291-0A4D-838D-292ADFEB39B5}" srcOrd="1" destOrd="0" presId="urn:microsoft.com/office/officeart/2005/8/layout/orgChart1"/>
    <dgm:cxn modelId="{EAA442BE-BD45-4944-92CA-F06023EBE66A}" type="presOf" srcId="{2DB4DE04-B90B-C745-ACAB-A8AAA0D2FFC2}" destId="{A0C3BD47-02F9-0546-8C6D-8DC994FE1E7C}" srcOrd="0" destOrd="0" presId="urn:microsoft.com/office/officeart/2005/8/layout/orgChart1"/>
    <dgm:cxn modelId="{AE742FC3-84C2-4E95-B569-59869668A315}" type="presOf" srcId="{49B6E850-214B-9442-95AB-095967991A45}" destId="{EED84F99-A90A-4745-B2A2-0BC725F06BA7}" srcOrd="0" destOrd="0" presId="urn:microsoft.com/office/officeart/2005/8/layout/orgChart1"/>
    <dgm:cxn modelId="{6FE333C3-4CD4-447F-B5AA-041D4C721A8F}" type="presOf" srcId="{01829183-B8B9-4354-B608-9695EE72AF39}" destId="{604DC1FD-8496-4C65-8314-D73D923129C3}" srcOrd="1" destOrd="0" presId="urn:microsoft.com/office/officeart/2005/8/layout/orgChart1"/>
    <dgm:cxn modelId="{40C0A7C5-FEAE-4E64-A45A-9AF2C83B831C}" type="presOf" srcId="{EE5A2023-68A4-4824-903B-00DD4AD28923}" destId="{20E3B098-A507-4A8E-A6EA-F1CAD824C780}" srcOrd="1" destOrd="0" presId="urn:microsoft.com/office/officeart/2005/8/layout/orgChart1"/>
    <dgm:cxn modelId="{1B5340C6-8836-4F98-8574-4668EA7D2B8E}" srcId="{4B03A5B3-FB87-E943-A2B3-32FB77D75D04}" destId="{3A3025F5-94BA-46B6-8845-3EB1232C4401}" srcOrd="1" destOrd="0" parTransId="{08F6CE2D-63F3-4679-858D-BDB22BC58819}" sibTransId="{A3223CC7-2BC0-4170-BD48-2AE62835359C}"/>
    <dgm:cxn modelId="{31CD29C7-DB1F-4E08-9C1D-EDEF1C324A6F}" type="presOf" srcId="{5AF21C8B-D982-49EB-A6A3-A55EBAD5AE2B}" destId="{3A945D74-3CE1-4404-A9CA-11DA7BBA64F0}" srcOrd="1" destOrd="0" presId="urn:microsoft.com/office/officeart/2005/8/layout/orgChart1"/>
    <dgm:cxn modelId="{FA9953CB-4AFA-4B67-9F7C-4A428E92E9D5}" type="presOf" srcId="{14BC58BE-FE75-9345-BE8E-43DC45CC8166}" destId="{F5BC6C0D-5DDE-CB4A-97EF-013B18F41473}" srcOrd="0" destOrd="0" presId="urn:microsoft.com/office/officeart/2005/8/layout/orgChart1"/>
    <dgm:cxn modelId="{084329CD-03BD-491E-B60F-39253BA18C54}" type="presOf" srcId="{04BC444A-E1B9-8E4A-A964-4EB03434DB6D}" destId="{BB54FDA3-6EA0-034B-92B7-BA1782717CA2}" srcOrd="0" destOrd="0" presId="urn:microsoft.com/office/officeart/2005/8/layout/orgChart1"/>
    <dgm:cxn modelId="{B4AF8DCD-5ABE-4164-B89F-DF853FD8FF3A}" srcId="{0A7EB5B1-E2BF-42FA-97CE-A1ED28BC3CBD}" destId="{EE5A2023-68A4-4824-903B-00DD4AD28923}" srcOrd="2" destOrd="0" parTransId="{4AB5B305-30F4-40A4-92C9-9615C4F0ABB0}" sibTransId="{1CB1E7AD-418D-4644-8112-5257B2DE9796}"/>
    <dgm:cxn modelId="{FF3B20D0-7CD2-46DB-9C96-38FEEC075BCC}" srcId="{827B8617-5E30-43E9-94F2-F8AB23148497}" destId="{960E0D8D-05F8-404C-8927-61DD7654E8FE}" srcOrd="0" destOrd="0" parTransId="{DD5EDDE2-02A1-4E63-AC98-AEEB88A585D5}" sibTransId="{7741FA2D-B4A4-4558-964F-D28F448690D2}"/>
    <dgm:cxn modelId="{C41742D3-9A59-46ED-AF49-1EFE7530A5DA}" srcId="{A3F9823F-838C-4343-A97D-8142E2F62423}" destId="{D77034E3-F0DA-4472-84DE-63A73726CFAD}" srcOrd="1" destOrd="0" parTransId="{5BD79B90-BD33-48BF-846B-3094DE514CDB}" sibTransId="{883D9685-D77C-4B7F-B7A4-7EA0D50CADF8}"/>
    <dgm:cxn modelId="{01266BD3-3850-426A-A679-5B3E7BF9B82B}" type="presOf" srcId="{827B8617-5E30-43E9-94F2-F8AB23148497}" destId="{C591DDF2-2203-4143-8E9B-869304224D53}" srcOrd="0" destOrd="0" presId="urn:microsoft.com/office/officeart/2005/8/layout/orgChart1"/>
    <dgm:cxn modelId="{657AC9D7-0572-4B70-875C-665F552304F3}" type="presOf" srcId="{E8DE3320-0523-4F4C-8B5C-5941C508318C}" destId="{13E71C10-D2B7-6B4F-B601-C44B059DC618}" srcOrd="0" destOrd="0" presId="urn:microsoft.com/office/officeart/2005/8/layout/orgChart1"/>
    <dgm:cxn modelId="{489613DA-CEB6-458C-A9F9-A0441695749B}" srcId="{EE56964C-2269-7748-90FD-F2FBF07C90D0}" destId="{DA854E58-5D3C-498D-993C-5EF5B2611F8F}" srcOrd="0" destOrd="0" parTransId="{CAF2109D-8343-454A-A2B5-32540F643F75}" sibTransId="{BC87DEDA-E1EE-48AD-A114-3713E65997E7}"/>
    <dgm:cxn modelId="{0CB6AADA-F74E-48BB-9C25-FF0DA125A8FB}" type="presOf" srcId="{E391B6A1-AEB1-A946-B6F4-15EE7EBF19CC}" destId="{CF345018-6611-8846-9867-5983103CD6E5}" srcOrd="0" destOrd="0" presId="urn:microsoft.com/office/officeart/2005/8/layout/orgChart1"/>
    <dgm:cxn modelId="{2DBAC1DA-EFBC-4627-BCCF-9C8E376C23C8}" type="presOf" srcId="{827B8617-5E30-43E9-94F2-F8AB23148497}" destId="{9B6E4AC3-B35F-4FED-9B48-BB4DACEA18D4}" srcOrd="1" destOrd="0" presId="urn:microsoft.com/office/officeart/2005/8/layout/orgChart1"/>
    <dgm:cxn modelId="{607406DD-15B9-4AE6-B382-B9078C20787B}" type="presOf" srcId="{01829183-B8B9-4354-B608-9695EE72AF39}" destId="{15CA64E1-20D0-4C19-BE71-896EF9150A3D}" srcOrd="0" destOrd="0" presId="urn:microsoft.com/office/officeart/2005/8/layout/orgChart1"/>
    <dgm:cxn modelId="{945BC0E0-EE03-F24E-B858-DA4215E51E29}" srcId="{9254A6CA-3717-7641-BA17-B73E2456F946}" destId="{EE56964C-2269-7748-90FD-F2FBF07C90D0}" srcOrd="0" destOrd="0" parTransId="{B89912AD-E264-3345-A114-98D2DAA7A207}" sibTransId="{64E6CCBC-9B1F-AD44-9BD1-B80B57FFD397}"/>
    <dgm:cxn modelId="{DED723E1-A45C-4A15-881E-CA4B6960CC2A}" srcId="{82098D27-0B54-AD44-A6FE-BD3A47605609}" destId="{58817A83-1B54-4E32-8A1F-9175C28AC93B}" srcOrd="1" destOrd="0" parTransId="{97BE7EB9-9115-41B7-820B-B230C1477646}" sibTransId="{BE27689A-CA7B-45EC-8883-021041016F1C}"/>
    <dgm:cxn modelId="{A33E0EE6-8D21-4449-AFC0-AF66004594FE}" type="presOf" srcId="{EE5A2023-68A4-4824-903B-00DD4AD28923}" destId="{7D66E290-AAD3-4971-898A-EB5E0B793119}" srcOrd="0" destOrd="0" presId="urn:microsoft.com/office/officeart/2005/8/layout/orgChart1"/>
    <dgm:cxn modelId="{A9E110E6-C416-42DC-A1A9-C01B669E1D44}" type="presOf" srcId="{6B44A025-92AF-4F09-9911-BEC99908F456}" destId="{17B538A6-E22C-4824-BE17-42D2E5E46C6F}" srcOrd="0" destOrd="0" presId="urn:microsoft.com/office/officeart/2005/8/layout/orgChart1"/>
    <dgm:cxn modelId="{2DE90BE8-5510-4BDA-BBD2-49AC3A47405A}" type="presOf" srcId="{64873947-C1C8-1145-9E2E-E152405EFD5E}" destId="{8214709E-5704-284D-AD75-A71705FD4F64}" srcOrd="0" destOrd="0" presId="urn:microsoft.com/office/officeart/2005/8/layout/orgChart1"/>
    <dgm:cxn modelId="{6C9E71EC-3F39-406C-87D8-E417881A1C4E}" type="presOf" srcId="{5DA6EAB2-AA01-41BE-B15E-968132EAC57C}" destId="{C16E0121-24C4-46D5-B4B2-EFA3ADF6F337}" srcOrd="0" destOrd="0" presId="urn:microsoft.com/office/officeart/2005/8/layout/orgChart1"/>
    <dgm:cxn modelId="{9A0B26EE-EC1F-0A47-BD32-A0B4617DFFD6}" srcId="{04BC444A-E1B9-8E4A-A964-4EB03434DB6D}" destId="{9254A6CA-3717-7641-BA17-B73E2456F946}" srcOrd="0" destOrd="0" parTransId="{CE49BCE0-ED8B-C348-9211-B034405C5804}" sibTransId="{8D1106B7-103C-B040-B71A-EB796A30C28D}"/>
    <dgm:cxn modelId="{799131F0-B402-4F13-9BB5-146F41194E53}" type="presOf" srcId="{AF796AB1-6898-2642-99F2-B1F28BBEC8DB}" destId="{D5847E0E-2986-1E4B-8133-FC884DE5E8F7}" srcOrd="0" destOrd="0" presId="urn:microsoft.com/office/officeart/2005/8/layout/orgChart1"/>
    <dgm:cxn modelId="{946634F0-1DE7-4377-B175-2AF07CB1C037}" type="presOf" srcId="{D77034E3-F0DA-4472-84DE-63A73726CFAD}" destId="{F1501F1A-265F-45FC-A7D4-3FA97C14F3ED}" srcOrd="0" destOrd="0" presId="urn:microsoft.com/office/officeart/2005/8/layout/orgChart1"/>
    <dgm:cxn modelId="{BBCA9AF1-CEE1-4F1D-BF91-6FFDEAFC5F59}" type="presOf" srcId="{D77034E3-F0DA-4472-84DE-63A73726CFAD}" destId="{F0B44BBB-E40C-48F1-A0D3-676E1E75DD9F}" srcOrd="1" destOrd="0" presId="urn:microsoft.com/office/officeart/2005/8/layout/orgChart1"/>
    <dgm:cxn modelId="{D86DDEF4-9B8D-46A6-B927-8D5B207D3C9F}" srcId="{A3F9823F-838C-4343-A97D-8142E2F62423}" destId="{A1D00132-0F7F-4860-8ABC-0F1C4AF94B55}" srcOrd="4" destOrd="0" parTransId="{A7209149-BD45-4FDC-AB1E-153FB4CA39D2}" sibTransId="{45E0185C-2FF1-4203-88E6-0D6B2549047D}"/>
    <dgm:cxn modelId="{76A9EBF6-71DD-4918-8628-D897DE8264DE}" type="presOf" srcId="{1A5BC874-2F1F-024E-BA93-F15D5B41694D}" destId="{D14417F5-B6B7-5B4E-A1AD-0155157057CF}" srcOrd="1" destOrd="0" presId="urn:microsoft.com/office/officeart/2005/8/layout/orgChart1"/>
    <dgm:cxn modelId="{AD6BBAFA-4C6C-46A3-BBD7-AFFDF4C9250B}" type="presOf" srcId="{B3B53615-DAC2-4458-B26B-439DC4DE5620}" destId="{67BE3F9E-9DAE-4B83-94B4-7BE53E323221}" srcOrd="0" destOrd="0" presId="urn:microsoft.com/office/officeart/2005/8/layout/orgChart1"/>
    <dgm:cxn modelId="{E2C8D9FB-E923-8C46-9690-8862045B12F9}" srcId="{949591D1-14AD-2542-9F4A-86E0278F66F4}" destId="{1A5BC874-2F1F-024E-BA93-F15D5B41694D}" srcOrd="0" destOrd="0" parTransId="{E8DE3320-0523-4F4C-8B5C-5941C508318C}" sibTransId="{2C82F753-88F3-D345-9220-B33B97342E24}"/>
    <dgm:cxn modelId="{1E3D5EFF-FEDE-4F1F-9780-586A6B40C014}" type="presOf" srcId="{E191B97A-B041-9947-83C4-908D7C8BBB14}" destId="{37B3547D-1F2B-FB46-BA1A-EC8C7CF644B3}" srcOrd="0" destOrd="0" presId="urn:microsoft.com/office/officeart/2005/8/layout/orgChart1"/>
    <dgm:cxn modelId="{CFEACFF3-2318-4B39-85CF-4147C70CDBD7}" type="presParOf" srcId="{DECA650A-4925-6641-9E81-5131AAFD40E3}" destId="{4CD699F2-42C8-5843-80C3-E573600E83B7}" srcOrd="0" destOrd="0" presId="urn:microsoft.com/office/officeart/2005/8/layout/orgChart1"/>
    <dgm:cxn modelId="{96059BDA-0F83-4254-A65E-F2C78A8DFB50}" type="presParOf" srcId="{4CD699F2-42C8-5843-80C3-E573600E83B7}" destId="{65219D8A-1A10-9F45-9C35-0304B307690F}" srcOrd="0" destOrd="0" presId="urn:microsoft.com/office/officeart/2005/8/layout/orgChart1"/>
    <dgm:cxn modelId="{20EEF4AC-BE43-4B8F-AFFC-1A017F5773A1}" type="presParOf" srcId="{65219D8A-1A10-9F45-9C35-0304B307690F}" destId="{49B86689-67B1-574A-A7F5-633E5DBDC03E}" srcOrd="0" destOrd="0" presId="urn:microsoft.com/office/officeart/2005/8/layout/orgChart1"/>
    <dgm:cxn modelId="{977A2674-4878-4449-9B88-616CB666D4CF}" type="presParOf" srcId="{65219D8A-1A10-9F45-9C35-0304B307690F}" destId="{26FA6962-D291-0A4D-838D-292ADFEB39B5}" srcOrd="1" destOrd="0" presId="urn:microsoft.com/office/officeart/2005/8/layout/orgChart1"/>
    <dgm:cxn modelId="{3ABDF8BD-E032-4730-B150-337778208EDB}" type="presParOf" srcId="{4CD699F2-42C8-5843-80C3-E573600E83B7}" destId="{A41E3A87-D815-564B-852E-B46378A8DDB2}" srcOrd="1" destOrd="0" presId="urn:microsoft.com/office/officeart/2005/8/layout/orgChart1"/>
    <dgm:cxn modelId="{A3C1D082-8E68-437D-8409-E9D5A7982A61}" type="presParOf" srcId="{A41E3A87-D815-564B-852E-B46378A8DDB2}" destId="{57B24AE9-B0ED-AF41-964D-187831FBE1D1}" srcOrd="0" destOrd="0" presId="urn:microsoft.com/office/officeart/2005/8/layout/orgChart1"/>
    <dgm:cxn modelId="{5BEFE8A8-8585-4AAA-8499-42D3153097CA}" type="presParOf" srcId="{A41E3A87-D815-564B-852E-B46378A8DDB2}" destId="{4E71D515-ABAE-684F-B947-2A8A8874EABA}" srcOrd="1" destOrd="0" presId="urn:microsoft.com/office/officeart/2005/8/layout/orgChart1"/>
    <dgm:cxn modelId="{C334F133-2151-456E-A5F9-60E0AE73F4AB}" type="presParOf" srcId="{4E71D515-ABAE-684F-B947-2A8A8874EABA}" destId="{59C87B65-933B-4A4A-9F50-94C0DB408DBD}" srcOrd="0" destOrd="0" presId="urn:microsoft.com/office/officeart/2005/8/layout/orgChart1"/>
    <dgm:cxn modelId="{00A4F25B-BBCE-4CDA-B41A-9CE889423FCB}" type="presParOf" srcId="{59C87B65-933B-4A4A-9F50-94C0DB408DBD}" destId="{5342E13A-1C38-4C43-B821-A2B5C67007EF}" srcOrd="0" destOrd="0" presId="urn:microsoft.com/office/officeart/2005/8/layout/orgChart1"/>
    <dgm:cxn modelId="{6DF07F9D-14EE-48E9-BB22-BA491DE26634}" type="presParOf" srcId="{59C87B65-933B-4A4A-9F50-94C0DB408DBD}" destId="{55E1D9FF-F2DC-B24F-8BA5-0ED851108C56}" srcOrd="1" destOrd="0" presId="urn:microsoft.com/office/officeart/2005/8/layout/orgChart1"/>
    <dgm:cxn modelId="{ACFB2557-F558-44D3-9530-03B30509A1DE}" type="presParOf" srcId="{4E71D515-ABAE-684F-B947-2A8A8874EABA}" destId="{616AE406-CDC1-F549-B811-8EC07F78A4AB}" srcOrd="1" destOrd="0" presId="urn:microsoft.com/office/officeart/2005/8/layout/orgChart1"/>
    <dgm:cxn modelId="{9EB244C6-8AA6-4103-AD16-8F8D6C80233B}" type="presParOf" srcId="{616AE406-CDC1-F549-B811-8EC07F78A4AB}" destId="{13E71C10-D2B7-6B4F-B601-C44B059DC618}" srcOrd="0" destOrd="0" presId="urn:microsoft.com/office/officeart/2005/8/layout/orgChart1"/>
    <dgm:cxn modelId="{E19B0A77-F086-4265-8D44-878C8C60199B}" type="presParOf" srcId="{616AE406-CDC1-F549-B811-8EC07F78A4AB}" destId="{5F0F5FC4-5729-0E45-9BDD-43B108A49B58}" srcOrd="1" destOrd="0" presId="urn:microsoft.com/office/officeart/2005/8/layout/orgChart1"/>
    <dgm:cxn modelId="{D5CD4A61-6B19-4BD7-AB9B-E4FEE4D8FA50}" type="presParOf" srcId="{5F0F5FC4-5729-0E45-9BDD-43B108A49B58}" destId="{F7673753-72C2-6849-91F7-97E9BDE5BFE0}" srcOrd="0" destOrd="0" presId="urn:microsoft.com/office/officeart/2005/8/layout/orgChart1"/>
    <dgm:cxn modelId="{A1E2D3C6-47B6-46AC-974D-B02B03C16D1E}" type="presParOf" srcId="{F7673753-72C2-6849-91F7-97E9BDE5BFE0}" destId="{B79AF090-C5A3-BD4C-A06F-6B78FA0ACF21}" srcOrd="0" destOrd="0" presId="urn:microsoft.com/office/officeart/2005/8/layout/orgChart1"/>
    <dgm:cxn modelId="{FB2A3F62-4BD0-4521-95C3-39D4704AD10A}" type="presParOf" srcId="{F7673753-72C2-6849-91F7-97E9BDE5BFE0}" destId="{D14417F5-B6B7-5B4E-A1AD-0155157057CF}" srcOrd="1" destOrd="0" presId="urn:microsoft.com/office/officeart/2005/8/layout/orgChart1"/>
    <dgm:cxn modelId="{6BB57717-C9EA-4895-9B10-5910192E3F7A}" type="presParOf" srcId="{5F0F5FC4-5729-0E45-9BDD-43B108A49B58}" destId="{D9163624-EB0D-0946-89DF-5CB08E9AB93B}" srcOrd="1" destOrd="0" presId="urn:microsoft.com/office/officeart/2005/8/layout/orgChart1"/>
    <dgm:cxn modelId="{EF7E16A1-9B25-4168-A04D-3DE7B2639365}" type="presParOf" srcId="{5F0F5FC4-5729-0E45-9BDD-43B108A49B58}" destId="{8D4CE1F6-FEA4-9241-8AB6-AAA01759A16A}" srcOrd="2" destOrd="0" presId="urn:microsoft.com/office/officeart/2005/8/layout/orgChart1"/>
    <dgm:cxn modelId="{D7BDC7F3-E202-4BD8-BF17-DA77965069E7}" type="presParOf" srcId="{616AE406-CDC1-F549-B811-8EC07F78A4AB}" destId="{2F2470BB-38A2-4E41-B2DA-B48A75BA7AB1}" srcOrd="2" destOrd="0" presId="urn:microsoft.com/office/officeart/2005/8/layout/orgChart1"/>
    <dgm:cxn modelId="{4E668479-A1CA-47E2-818D-1D82A1151DBC}" type="presParOf" srcId="{616AE406-CDC1-F549-B811-8EC07F78A4AB}" destId="{030237BE-2096-CC4A-A22F-8AE4C05F4F2A}" srcOrd="3" destOrd="0" presId="urn:microsoft.com/office/officeart/2005/8/layout/orgChart1"/>
    <dgm:cxn modelId="{246EE8DF-284A-4D9A-82AE-96A1C407A215}" type="presParOf" srcId="{030237BE-2096-CC4A-A22F-8AE4C05F4F2A}" destId="{6C93D079-BD7F-9D44-9916-3B9866FA39D8}" srcOrd="0" destOrd="0" presId="urn:microsoft.com/office/officeart/2005/8/layout/orgChart1"/>
    <dgm:cxn modelId="{7602335B-76D1-43AD-AAA6-0156B5EF2835}" type="presParOf" srcId="{6C93D079-BD7F-9D44-9916-3B9866FA39D8}" destId="{F5BC6C0D-5DDE-CB4A-97EF-013B18F41473}" srcOrd="0" destOrd="0" presId="urn:microsoft.com/office/officeart/2005/8/layout/orgChart1"/>
    <dgm:cxn modelId="{1D6A5339-95C2-466D-8DAF-5B850CD5D658}" type="presParOf" srcId="{6C93D079-BD7F-9D44-9916-3B9866FA39D8}" destId="{F979B2D1-A581-6E40-8907-7268EDCD05BD}" srcOrd="1" destOrd="0" presId="urn:microsoft.com/office/officeart/2005/8/layout/orgChart1"/>
    <dgm:cxn modelId="{EE8A1289-328F-47C1-AFAF-41EE82AB6B58}" type="presParOf" srcId="{030237BE-2096-CC4A-A22F-8AE4C05F4F2A}" destId="{D4B96E57-DBBB-F340-961B-89EAC233A8A6}" srcOrd="1" destOrd="0" presId="urn:microsoft.com/office/officeart/2005/8/layout/orgChart1"/>
    <dgm:cxn modelId="{32A00D2A-7D1F-4C28-B986-6420EDFFC581}" type="presParOf" srcId="{030237BE-2096-CC4A-A22F-8AE4C05F4F2A}" destId="{A5FFD66D-372D-734D-AA96-69416776E511}" srcOrd="2" destOrd="0" presId="urn:microsoft.com/office/officeart/2005/8/layout/orgChart1"/>
    <dgm:cxn modelId="{B29B8643-CAEA-46E3-8A41-419D3FC7DFCB}" type="presParOf" srcId="{616AE406-CDC1-F549-B811-8EC07F78A4AB}" destId="{D5847E0E-2986-1E4B-8133-FC884DE5E8F7}" srcOrd="4" destOrd="0" presId="urn:microsoft.com/office/officeart/2005/8/layout/orgChart1"/>
    <dgm:cxn modelId="{2E771546-B316-4E24-982E-782592DDCDA8}" type="presParOf" srcId="{616AE406-CDC1-F549-B811-8EC07F78A4AB}" destId="{F5F7ED97-F900-4245-B5E1-4D70742E3CA0}" srcOrd="5" destOrd="0" presId="urn:microsoft.com/office/officeart/2005/8/layout/orgChart1"/>
    <dgm:cxn modelId="{200A299C-2651-4258-967B-7D1343F4FD34}" type="presParOf" srcId="{F5F7ED97-F900-4245-B5E1-4D70742E3CA0}" destId="{0240A03E-0C20-1F40-B2E3-E57280C190FB}" srcOrd="0" destOrd="0" presId="urn:microsoft.com/office/officeart/2005/8/layout/orgChart1"/>
    <dgm:cxn modelId="{0D59B72D-E0CC-4D01-AF8A-712BFB8AC9F6}" type="presParOf" srcId="{0240A03E-0C20-1F40-B2E3-E57280C190FB}" destId="{A0C3BD47-02F9-0546-8C6D-8DC994FE1E7C}" srcOrd="0" destOrd="0" presId="urn:microsoft.com/office/officeart/2005/8/layout/orgChart1"/>
    <dgm:cxn modelId="{A7656ACE-A8BD-48D4-9F20-0BBE45ABD742}" type="presParOf" srcId="{0240A03E-0C20-1F40-B2E3-E57280C190FB}" destId="{BE43D0A4-2570-0844-8DDF-B10E94159198}" srcOrd="1" destOrd="0" presId="urn:microsoft.com/office/officeart/2005/8/layout/orgChart1"/>
    <dgm:cxn modelId="{0349BDCC-20E7-4DE1-AD28-4545AAEECBE0}" type="presParOf" srcId="{F5F7ED97-F900-4245-B5E1-4D70742E3CA0}" destId="{61DBA77D-3611-864C-8D6B-99A7BB19F8D3}" srcOrd="1" destOrd="0" presId="urn:microsoft.com/office/officeart/2005/8/layout/orgChart1"/>
    <dgm:cxn modelId="{274794A2-83CD-4543-B44C-CAC3D2A7733D}" type="presParOf" srcId="{F5F7ED97-F900-4245-B5E1-4D70742E3CA0}" destId="{F742B5A4-71E5-9644-A9A3-3349D45FE4A9}" srcOrd="2" destOrd="0" presId="urn:microsoft.com/office/officeart/2005/8/layout/orgChart1"/>
    <dgm:cxn modelId="{3F76E6FD-117F-4B47-BB21-25AB096394AB}" type="presParOf" srcId="{4E71D515-ABAE-684F-B947-2A8A8874EABA}" destId="{3D60F316-A052-EB46-9F64-9FF0DBE14A53}" srcOrd="2" destOrd="0" presId="urn:microsoft.com/office/officeart/2005/8/layout/orgChart1"/>
    <dgm:cxn modelId="{F17FBCBF-913B-42FE-8B41-EB6611404322}" type="presParOf" srcId="{A41E3A87-D815-564B-852E-B46378A8DDB2}" destId="{53717AD0-CFA4-4A9C-B6F3-C991A181E617}" srcOrd="2" destOrd="0" presId="urn:microsoft.com/office/officeart/2005/8/layout/orgChart1"/>
    <dgm:cxn modelId="{8A292E77-FEF0-4A0A-86B3-415375310BB7}" type="presParOf" srcId="{A41E3A87-D815-564B-852E-B46378A8DDB2}" destId="{C6C6A36C-343D-4B17-9FBE-01282151B5EA}" srcOrd="3" destOrd="0" presId="urn:microsoft.com/office/officeart/2005/8/layout/orgChart1"/>
    <dgm:cxn modelId="{4DBEEFC4-7B5B-48E7-9D86-BE749CCC84E7}" type="presParOf" srcId="{C6C6A36C-343D-4B17-9FBE-01282151B5EA}" destId="{4EB719A7-3413-4D8A-B33D-9417D62B9793}" srcOrd="0" destOrd="0" presId="urn:microsoft.com/office/officeart/2005/8/layout/orgChart1"/>
    <dgm:cxn modelId="{E131C6C9-54BD-44CB-8B10-5672BD48CDC8}" type="presParOf" srcId="{4EB719A7-3413-4D8A-B33D-9417D62B9793}" destId="{C0D5FE1F-69BE-450F-80A0-D50FB8D9BD69}" srcOrd="0" destOrd="0" presId="urn:microsoft.com/office/officeart/2005/8/layout/orgChart1"/>
    <dgm:cxn modelId="{8494AB70-40EA-4250-A779-07A54C415018}" type="presParOf" srcId="{4EB719A7-3413-4D8A-B33D-9417D62B9793}" destId="{9090CA12-C3F6-4102-9156-E5E7D9E5B2B8}" srcOrd="1" destOrd="0" presId="urn:microsoft.com/office/officeart/2005/8/layout/orgChart1"/>
    <dgm:cxn modelId="{6EC433E5-B988-4CC9-8A1B-909A9C30B777}" type="presParOf" srcId="{C6C6A36C-343D-4B17-9FBE-01282151B5EA}" destId="{6D77323F-3CEF-42EE-AEA8-806C9FCB66BE}" srcOrd="1" destOrd="0" presId="urn:microsoft.com/office/officeart/2005/8/layout/orgChart1"/>
    <dgm:cxn modelId="{75A7821D-B80A-4355-9FE6-11976415A63C}" type="presParOf" srcId="{6D77323F-3CEF-42EE-AEA8-806C9FCB66BE}" destId="{67BE3F9E-9DAE-4B83-94B4-7BE53E323221}" srcOrd="0" destOrd="0" presId="urn:microsoft.com/office/officeart/2005/8/layout/orgChart1"/>
    <dgm:cxn modelId="{71491098-1166-41F2-8EF5-E39EF2DA0155}" type="presParOf" srcId="{6D77323F-3CEF-42EE-AEA8-806C9FCB66BE}" destId="{67000E9A-A000-4E2D-BD1A-7CB0E063242A}" srcOrd="1" destOrd="0" presId="urn:microsoft.com/office/officeart/2005/8/layout/orgChart1"/>
    <dgm:cxn modelId="{792B5B59-6FC7-40E4-8CF9-926C670B3E3C}" type="presParOf" srcId="{67000E9A-A000-4E2D-BD1A-7CB0E063242A}" destId="{3F24C9B5-E7BE-451A-A77D-5591E28AD2BE}" srcOrd="0" destOrd="0" presId="urn:microsoft.com/office/officeart/2005/8/layout/orgChart1"/>
    <dgm:cxn modelId="{6730BEDD-EEAF-4534-9343-0F8B74417EDE}" type="presParOf" srcId="{3F24C9B5-E7BE-451A-A77D-5591E28AD2BE}" destId="{C16E0121-24C4-46D5-B4B2-EFA3ADF6F337}" srcOrd="0" destOrd="0" presId="urn:microsoft.com/office/officeart/2005/8/layout/orgChart1"/>
    <dgm:cxn modelId="{F9A1CB0A-066B-434B-953B-87D525FC099E}" type="presParOf" srcId="{3F24C9B5-E7BE-451A-A77D-5591E28AD2BE}" destId="{F8BDDF5C-3332-492C-BD06-808B23E785E3}" srcOrd="1" destOrd="0" presId="urn:microsoft.com/office/officeart/2005/8/layout/orgChart1"/>
    <dgm:cxn modelId="{7C412D07-0D96-40B4-9165-BFFE8C321813}" type="presParOf" srcId="{67000E9A-A000-4E2D-BD1A-7CB0E063242A}" destId="{2F4FA404-F2B1-4EC6-86DA-AD10A218093B}" srcOrd="1" destOrd="0" presId="urn:microsoft.com/office/officeart/2005/8/layout/orgChart1"/>
    <dgm:cxn modelId="{A3F1AE93-6DB2-4E1F-B39E-682110D3166E}" type="presParOf" srcId="{67000E9A-A000-4E2D-BD1A-7CB0E063242A}" destId="{1253160E-244A-4E25-8F76-AC20A23D4F3E}" srcOrd="2" destOrd="0" presId="urn:microsoft.com/office/officeart/2005/8/layout/orgChart1"/>
    <dgm:cxn modelId="{619E7777-1D72-4B11-B341-F67E761B047B}" type="presParOf" srcId="{C6C6A36C-343D-4B17-9FBE-01282151B5EA}" destId="{24DE2816-EF3C-41A6-9987-3611B2A06257}" srcOrd="2" destOrd="0" presId="urn:microsoft.com/office/officeart/2005/8/layout/orgChart1"/>
    <dgm:cxn modelId="{FF3F282B-4C90-4FD1-B7B4-C2D7F496D913}" type="presParOf" srcId="{A41E3A87-D815-564B-852E-B46378A8DDB2}" destId="{F1E1CCA6-B5CA-448F-A6C9-A9EAD4F0B461}" srcOrd="4" destOrd="0" presId="urn:microsoft.com/office/officeart/2005/8/layout/orgChart1"/>
    <dgm:cxn modelId="{8BD77E71-5762-41A7-A5A2-938569B6A8AC}" type="presParOf" srcId="{A41E3A87-D815-564B-852E-B46378A8DDB2}" destId="{B6C83032-095A-46AB-8E7B-85D70D825278}" srcOrd="5" destOrd="0" presId="urn:microsoft.com/office/officeart/2005/8/layout/orgChart1"/>
    <dgm:cxn modelId="{8B286D18-479D-450C-B47E-2450F2856741}" type="presParOf" srcId="{B6C83032-095A-46AB-8E7B-85D70D825278}" destId="{15A6E52D-B311-40D6-8821-95D7CBE2A39C}" srcOrd="0" destOrd="0" presId="urn:microsoft.com/office/officeart/2005/8/layout/orgChart1"/>
    <dgm:cxn modelId="{29630FE4-3B3D-48C8-8973-E69EC2711173}" type="presParOf" srcId="{15A6E52D-B311-40D6-8821-95D7CBE2A39C}" destId="{35A8897A-21AC-43D9-92AD-BD3B05691203}" srcOrd="0" destOrd="0" presId="urn:microsoft.com/office/officeart/2005/8/layout/orgChart1"/>
    <dgm:cxn modelId="{8A4A8919-7F39-42CA-B2E3-89767DDB90BC}" type="presParOf" srcId="{15A6E52D-B311-40D6-8821-95D7CBE2A39C}" destId="{B33D822C-7F8E-45EF-B4A4-BA2540D63323}" srcOrd="1" destOrd="0" presId="urn:microsoft.com/office/officeart/2005/8/layout/orgChart1"/>
    <dgm:cxn modelId="{DAA243AA-B4E5-4EBD-B750-0C5B7411FDFF}" type="presParOf" srcId="{B6C83032-095A-46AB-8E7B-85D70D825278}" destId="{8431BCE1-30A1-4F0A-B822-2E721CB2CA31}" srcOrd="1" destOrd="0" presId="urn:microsoft.com/office/officeart/2005/8/layout/orgChart1"/>
    <dgm:cxn modelId="{31CB043A-54EA-4619-906B-0EAB04B476C4}" type="presParOf" srcId="{8431BCE1-30A1-4F0A-B822-2E721CB2CA31}" destId="{A223F4EF-C207-4E73-A1B1-4D1F15A6EAAC}" srcOrd="0" destOrd="0" presId="urn:microsoft.com/office/officeart/2005/8/layout/orgChart1"/>
    <dgm:cxn modelId="{B2BE242B-10C2-4728-8D50-09DB6B4665BE}" type="presParOf" srcId="{8431BCE1-30A1-4F0A-B822-2E721CB2CA31}" destId="{6E05E30B-682E-464B-B2CA-5D8C902BAA69}" srcOrd="1" destOrd="0" presId="urn:microsoft.com/office/officeart/2005/8/layout/orgChart1"/>
    <dgm:cxn modelId="{304BBDA7-42EE-4535-B566-518BD26C5B47}" type="presParOf" srcId="{6E05E30B-682E-464B-B2CA-5D8C902BAA69}" destId="{FDBA69FC-66F9-4D2B-97A9-41AB89D09321}" srcOrd="0" destOrd="0" presId="urn:microsoft.com/office/officeart/2005/8/layout/orgChart1"/>
    <dgm:cxn modelId="{18C3906A-3C17-4F4F-A092-10B76649659C}" type="presParOf" srcId="{FDBA69FC-66F9-4D2B-97A9-41AB89D09321}" destId="{B94C8036-0D61-4367-9828-1E9AD21C1536}" srcOrd="0" destOrd="0" presId="urn:microsoft.com/office/officeart/2005/8/layout/orgChart1"/>
    <dgm:cxn modelId="{16E004F6-3931-440A-BF33-D3F961B628A5}" type="presParOf" srcId="{FDBA69FC-66F9-4D2B-97A9-41AB89D09321}" destId="{B100E119-E5DD-4278-BABB-F383F85AF65A}" srcOrd="1" destOrd="0" presId="urn:microsoft.com/office/officeart/2005/8/layout/orgChart1"/>
    <dgm:cxn modelId="{7B0A4726-F0D1-463F-A4BB-3EFCC36C9FAB}" type="presParOf" srcId="{6E05E30B-682E-464B-B2CA-5D8C902BAA69}" destId="{D564B711-9D26-42F8-BEF3-0BD28FAD03A3}" srcOrd="1" destOrd="0" presId="urn:microsoft.com/office/officeart/2005/8/layout/orgChart1"/>
    <dgm:cxn modelId="{D9395D60-748C-4865-A1F0-5C4508B41475}" type="presParOf" srcId="{6E05E30B-682E-464B-B2CA-5D8C902BAA69}" destId="{A30BB6D4-F385-42C9-8EC4-54E0D9FA52E9}" srcOrd="2" destOrd="0" presId="urn:microsoft.com/office/officeart/2005/8/layout/orgChart1"/>
    <dgm:cxn modelId="{C5BA51D2-6F10-479A-B8B8-92E1E78EACC1}" type="presParOf" srcId="{8431BCE1-30A1-4F0A-B822-2E721CB2CA31}" destId="{3ACCED4D-B2D2-4CD2-9167-8E16C94C73CC}" srcOrd="2" destOrd="0" presId="urn:microsoft.com/office/officeart/2005/8/layout/orgChart1"/>
    <dgm:cxn modelId="{DAA9111D-2E91-4E70-94CE-8D57FA70FB42}" type="presParOf" srcId="{8431BCE1-30A1-4F0A-B822-2E721CB2CA31}" destId="{1F331270-658F-4EF0-9856-77F52B0A64CF}" srcOrd="3" destOrd="0" presId="urn:microsoft.com/office/officeart/2005/8/layout/orgChart1"/>
    <dgm:cxn modelId="{03EF9189-CF12-4696-87D5-920F397445FF}" type="presParOf" srcId="{1F331270-658F-4EF0-9856-77F52B0A64CF}" destId="{607562C5-5E4F-4A03-8573-8BEB7C8651C5}" srcOrd="0" destOrd="0" presId="urn:microsoft.com/office/officeart/2005/8/layout/orgChart1"/>
    <dgm:cxn modelId="{18363DF4-2E51-449C-BA6C-C60FC4DA40BA}" type="presParOf" srcId="{607562C5-5E4F-4A03-8573-8BEB7C8651C5}" destId="{17B538A6-E22C-4824-BE17-42D2E5E46C6F}" srcOrd="0" destOrd="0" presId="urn:microsoft.com/office/officeart/2005/8/layout/orgChart1"/>
    <dgm:cxn modelId="{0E84CD43-2470-416C-8CA3-EC371A8A7ED0}" type="presParOf" srcId="{607562C5-5E4F-4A03-8573-8BEB7C8651C5}" destId="{AE01415F-EA32-423E-9F4D-FF68894E3170}" srcOrd="1" destOrd="0" presId="urn:microsoft.com/office/officeart/2005/8/layout/orgChart1"/>
    <dgm:cxn modelId="{07EE74EF-FEA2-4CEC-8D13-837CEFE2844D}" type="presParOf" srcId="{1F331270-658F-4EF0-9856-77F52B0A64CF}" destId="{97963798-F6E3-4BB3-9509-58CB0CE11140}" srcOrd="1" destOrd="0" presId="urn:microsoft.com/office/officeart/2005/8/layout/orgChart1"/>
    <dgm:cxn modelId="{A020E5DE-681C-483E-98E4-481A4366E0FC}" type="presParOf" srcId="{1F331270-658F-4EF0-9856-77F52B0A64CF}" destId="{5A49418C-3B1B-40F0-81EF-765A7FEFCD93}" srcOrd="2" destOrd="0" presId="urn:microsoft.com/office/officeart/2005/8/layout/orgChart1"/>
    <dgm:cxn modelId="{7300089C-25D1-4778-94F1-5245DE83CCFA}" type="presParOf" srcId="{8431BCE1-30A1-4F0A-B822-2E721CB2CA31}" destId="{945899B2-BDDB-43C0-B85D-163CB087ED36}" srcOrd="4" destOrd="0" presId="urn:microsoft.com/office/officeart/2005/8/layout/orgChart1"/>
    <dgm:cxn modelId="{E0C9C465-11B1-4A67-A1C3-32D928DEB992}" type="presParOf" srcId="{8431BCE1-30A1-4F0A-B822-2E721CB2CA31}" destId="{5DAEB3DD-13EB-41F6-8924-A1E76C7BC753}" srcOrd="5" destOrd="0" presId="urn:microsoft.com/office/officeart/2005/8/layout/orgChart1"/>
    <dgm:cxn modelId="{2773228E-7FB8-492D-B336-B2E220F34362}" type="presParOf" srcId="{5DAEB3DD-13EB-41F6-8924-A1E76C7BC753}" destId="{7168A972-178E-40ED-93A0-3EE218C92735}" srcOrd="0" destOrd="0" presId="urn:microsoft.com/office/officeart/2005/8/layout/orgChart1"/>
    <dgm:cxn modelId="{E3D73791-07E8-4292-8300-041BEBB98246}" type="presParOf" srcId="{7168A972-178E-40ED-93A0-3EE218C92735}" destId="{7D66E290-AAD3-4971-898A-EB5E0B793119}" srcOrd="0" destOrd="0" presId="urn:microsoft.com/office/officeart/2005/8/layout/orgChart1"/>
    <dgm:cxn modelId="{CEEA854C-0E2E-45EA-AC42-700E2D034745}" type="presParOf" srcId="{7168A972-178E-40ED-93A0-3EE218C92735}" destId="{20E3B098-A507-4A8E-A6EA-F1CAD824C780}" srcOrd="1" destOrd="0" presId="urn:microsoft.com/office/officeart/2005/8/layout/orgChart1"/>
    <dgm:cxn modelId="{18416312-3822-4E21-9A20-4F2D60AEEE90}" type="presParOf" srcId="{5DAEB3DD-13EB-41F6-8924-A1E76C7BC753}" destId="{45E3B240-1D25-452E-A941-2327B37C7148}" srcOrd="1" destOrd="0" presId="urn:microsoft.com/office/officeart/2005/8/layout/orgChart1"/>
    <dgm:cxn modelId="{3D61809D-58E8-439F-9768-D4A3A45FEF31}" type="presParOf" srcId="{5DAEB3DD-13EB-41F6-8924-A1E76C7BC753}" destId="{40BFDBCD-4264-48A5-838F-515590B93730}" srcOrd="2" destOrd="0" presId="urn:microsoft.com/office/officeart/2005/8/layout/orgChart1"/>
    <dgm:cxn modelId="{652725A4-1887-4D23-A80E-254097732DE0}" type="presParOf" srcId="{8431BCE1-30A1-4F0A-B822-2E721CB2CA31}" destId="{5001705D-BD56-4247-8356-7A2CD0DA8B66}" srcOrd="6" destOrd="0" presId="urn:microsoft.com/office/officeart/2005/8/layout/orgChart1"/>
    <dgm:cxn modelId="{0BA0A2AC-A37F-41A2-97F8-9D088BACCDE3}" type="presParOf" srcId="{8431BCE1-30A1-4F0A-B822-2E721CB2CA31}" destId="{945A0867-7C0C-46AE-85BD-2A5F53D5CD83}" srcOrd="7" destOrd="0" presId="urn:microsoft.com/office/officeart/2005/8/layout/orgChart1"/>
    <dgm:cxn modelId="{8A2E3C6B-CE8F-42C0-BCB6-67A74ACDA27A}" type="presParOf" srcId="{945A0867-7C0C-46AE-85BD-2A5F53D5CD83}" destId="{FFB7EFAE-F198-44FB-BB84-75B8315702F3}" srcOrd="0" destOrd="0" presId="urn:microsoft.com/office/officeart/2005/8/layout/orgChart1"/>
    <dgm:cxn modelId="{EAAB3248-38DF-4896-877A-90920751A6FA}" type="presParOf" srcId="{FFB7EFAE-F198-44FB-BB84-75B8315702F3}" destId="{761A833A-0A23-4FE7-9495-94C2F79FDE43}" srcOrd="0" destOrd="0" presId="urn:microsoft.com/office/officeart/2005/8/layout/orgChart1"/>
    <dgm:cxn modelId="{4CD43FE9-AF7C-4FBB-B508-6AEFC21B5E4E}" type="presParOf" srcId="{FFB7EFAE-F198-44FB-BB84-75B8315702F3}" destId="{F00E08B1-B941-4001-81B9-9DC8123CDA8C}" srcOrd="1" destOrd="0" presId="urn:microsoft.com/office/officeart/2005/8/layout/orgChart1"/>
    <dgm:cxn modelId="{32445929-BA43-4005-BB30-9922FCF8F6C4}" type="presParOf" srcId="{945A0867-7C0C-46AE-85BD-2A5F53D5CD83}" destId="{F19D8A69-ACCB-4628-B88D-70907A54A3A8}" srcOrd="1" destOrd="0" presId="urn:microsoft.com/office/officeart/2005/8/layout/orgChart1"/>
    <dgm:cxn modelId="{ACB46D6F-192F-489A-BD27-299B50E9A72D}" type="presParOf" srcId="{945A0867-7C0C-46AE-85BD-2A5F53D5CD83}" destId="{BA4176AF-67C6-4923-B129-B07721F661A1}" srcOrd="2" destOrd="0" presId="urn:microsoft.com/office/officeart/2005/8/layout/orgChart1"/>
    <dgm:cxn modelId="{79838227-E8DB-4B2E-B9D4-7E9918DA088C}" type="presParOf" srcId="{B6C83032-095A-46AB-8E7B-85D70D825278}" destId="{67C34A15-FC4C-4C9B-B29F-A326F4AEDFDD}" srcOrd="2" destOrd="0" presId="urn:microsoft.com/office/officeart/2005/8/layout/orgChart1"/>
    <dgm:cxn modelId="{9A062E40-9300-4455-9351-67C87375B1BF}" type="presParOf" srcId="{A41E3A87-D815-564B-852E-B46378A8DDB2}" destId="{EED84F99-A90A-4745-B2A2-0BC725F06BA7}" srcOrd="6" destOrd="0" presId="urn:microsoft.com/office/officeart/2005/8/layout/orgChart1"/>
    <dgm:cxn modelId="{4965B1BB-B0D6-4960-ACF5-A09B0A8B8FD6}" type="presParOf" srcId="{A41E3A87-D815-564B-852E-B46378A8DDB2}" destId="{8B0C6A80-36E5-8143-B98C-F13856D6C57A}" srcOrd="7" destOrd="0" presId="urn:microsoft.com/office/officeart/2005/8/layout/orgChart1"/>
    <dgm:cxn modelId="{111137EA-F4EC-48D8-8561-6A56BA245AA4}" type="presParOf" srcId="{8B0C6A80-36E5-8143-B98C-F13856D6C57A}" destId="{BDA3C246-7F5D-374E-81AE-E524CBD3FC06}" srcOrd="0" destOrd="0" presId="urn:microsoft.com/office/officeart/2005/8/layout/orgChart1"/>
    <dgm:cxn modelId="{D5F781F6-9C4E-43CB-BA39-6148437F99BC}" type="presParOf" srcId="{BDA3C246-7F5D-374E-81AE-E524CBD3FC06}" destId="{709FA4AA-76C5-9F4E-9678-5F82DEF7441A}" srcOrd="0" destOrd="0" presId="urn:microsoft.com/office/officeart/2005/8/layout/orgChart1"/>
    <dgm:cxn modelId="{AC4F1D1F-E7B0-4ECE-B9DD-B49196055E51}" type="presParOf" srcId="{BDA3C246-7F5D-374E-81AE-E524CBD3FC06}" destId="{7120E9CD-AE41-9C43-8F60-2894EFD5B66D}" srcOrd="1" destOrd="0" presId="urn:microsoft.com/office/officeart/2005/8/layout/orgChart1"/>
    <dgm:cxn modelId="{BE8234A3-BA0F-4BF4-81E6-A5E3F834D0F0}" type="presParOf" srcId="{8B0C6A80-36E5-8143-B98C-F13856D6C57A}" destId="{1097B99E-0647-3F42-9AD4-2814AFAA5B5F}" srcOrd="1" destOrd="0" presId="urn:microsoft.com/office/officeart/2005/8/layout/orgChart1"/>
    <dgm:cxn modelId="{AD8A058A-3673-4836-83B0-5B8EBA7051F0}" type="presParOf" srcId="{1097B99E-0647-3F42-9AD4-2814AFAA5B5F}" destId="{CF345018-6611-8846-9867-5983103CD6E5}" srcOrd="0" destOrd="0" presId="urn:microsoft.com/office/officeart/2005/8/layout/orgChart1"/>
    <dgm:cxn modelId="{C62A4B3B-1732-41A0-B365-621DF5808A2D}" type="presParOf" srcId="{1097B99E-0647-3F42-9AD4-2814AFAA5B5F}" destId="{31DF14A8-9BAF-BA44-BB60-B6BE28C6EFBD}" srcOrd="1" destOrd="0" presId="urn:microsoft.com/office/officeart/2005/8/layout/orgChart1"/>
    <dgm:cxn modelId="{B8B383D9-42B5-4A26-AADE-54E700DC2667}" type="presParOf" srcId="{31DF14A8-9BAF-BA44-BB60-B6BE28C6EFBD}" destId="{266248D5-6466-974C-AF85-19A826F26888}" srcOrd="0" destOrd="0" presId="urn:microsoft.com/office/officeart/2005/8/layout/orgChart1"/>
    <dgm:cxn modelId="{F12FBD48-FFA9-48BF-85E7-E49B78CEAC6C}" type="presParOf" srcId="{266248D5-6466-974C-AF85-19A826F26888}" destId="{37B3547D-1F2B-FB46-BA1A-EC8C7CF644B3}" srcOrd="0" destOrd="0" presId="urn:microsoft.com/office/officeart/2005/8/layout/orgChart1"/>
    <dgm:cxn modelId="{D1856D91-2444-4E7D-B6DE-EA520E943C4D}" type="presParOf" srcId="{266248D5-6466-974C-AF85-19A826F26888}" destId="{4C80E2AC-512B-9B4C-A7F9-F84D6A64C311}" srcOrd="1" destOrd="0" presId="urn:microsoft.com/office/officeart/2005/8/layout/orgChart1"/>
    <dgm:cxn modelId="{2762BA10-E69D-467D-B0EC-152EC8749B9E}" type="presParOf" srcId="{31DF14A8-9BAF-BA44-BB60-B6BE28C6EFBD}" destId="{A325E9E1-18CC-FF43-B22C-8FCBF44D4DAE}" srcOrd="1" destOrd="0" presId="urn:microsoft.com/office/officeart/2005/8/layout/orgChart1"/>
    <dgm:cxn modelId="{B65093B8-5FC2-4C71-B7D9-D33BC3BE3666}" type="presParOf" srcId="{31DF14A8-9BAF-BA44-BB60-B6BE28C6EFBD}" destId="{4E2032BA-C58F-B54F-A5FD-9B4D1D44183D}" srcOrd="2" destOrd="0" presId="urn:microsoft.com/office/officeart/2005/8/layout/orgChart1"/>
    <dgm:cxn modelId="{9313460A-0DD7-48D3-94FE-6C1C116AF7E0}" type="presParOf" srcId="{1097B99E-0647-3F42-9AD4-2814AFAA5B5F}" destId="{B32C6C0B-9A9E-4FC4-AAD0-F9AAADCE02ED}" srcOrd="2" destOrd="0" presId="urn:microsoft.com/office/officeart/2005/8/layout/orgChart1"/>
    <dgm:cxn modelId="{CED98037-BBA0-4F14-862E-CAD55846C2A9}" type="presParOf" srcId="{1097B99E-0647-3F42-9AD4-2814AFAA5B5F}" destId="{F5900660-A89B-4757-8D16-67341196E25C}" srcOrd="3" destOrd="0" presId="urn:microsoft.com/office/officeart/2005/8/layout/orgChart1"/>
    <dgm:cxn modelId="{33EFC4A1-20DE-44AC-A8BF-A2313D94BACE}" type="presParOf" srcId="{F5900660-A89B-4757-8D16-67341196E25C}" destId="{CCF64D4C-71A0-45B7-8168-275E29F3662A}" srcOrd="0" destOrd="0" presId="urn:microsoft.com/office/officeart/2005/8/layout/orgChart1"/>
    <dgm:cxn modelId="{6CD66D87-39C6-44B4-B179-20FE867665CC}" type="presParOf" srcId="{CCF64D4C-71A0-45B7-8168-275E29F3662A}" destId="{F1501F1A-265F-45FC-A7D4-3FA97C14F3ED}" srcOrd="0" destOrd="0" presId="urn:microsoft.com/office/officeart/2005/8/layout/orgChart1"/>
    <dgm:cxn modelId="{748DF89B-65E7-4810-9CD0-BD4DD1353286}" type="presParOf" srcId="{CCF64D4C-71A0-45B7-8168-275E29F3662A}" destId="{F0B44BBB-E40C-48F1-A0D3-676E1E75DD9F}" srcOrd="1" destOrd="0" presId="urn:microsoft.com/office/officeart/2005/8/layout/orgChart1"/>
    <dgm:cxn modelId="{7950111B-9707-40D0-BF03-C03BC7EF9557}" type="presParOf" srcId="{F5900660-A89B-4757-8D16-67341196E25C}" destId="{281A98E7-644F-4B9A-91F3-7FD9452D7242}" srcOrd="1" destOrd="0" presId="urn:microsoft.com/office/officeart/2005/8/layout/orgChart1"/>
    <dgm:cxn modelId="{4FA6A1B9-D12E-4AD3-8F3A-07DB7405D188}" type="presParOf" srcId="{F5900660-A89B-4757-8D16-67341196E25C}" destId="{6C3F4214-3699-4395-8AFA-027BFD8C94A6}" srcOrd="2" destOrd="0" presId="urn:microsoft.com/office/officeart/2005/8/layout/orgChart1"/>
    <dgm:cxn modelId="{6C340AD5-E4D1-4DA6-9299-477053EF7055}" type="presParOf" srcId="{1097B99E-0647-3F42-9AD4-2814AFAA5B5F}" destId="{4B3AE09D-6CC1-422F-A633-D9B4FB0F3304}" srcOrd="4" destOrd="0" presId="urn:microsoft.com/office/officeart/2005/8/layout/orgChart1"/>
    <dgm:cxn modelId="{38E6B46B-1BC1-45E9-A346-2AD3037E5F50}" type="presParOf" srcId="{1097B99E-0647-3F42-9AD4-2814AFAA5B5F}" destId="{EAAA62BB-9FC6-46E0-B20D-CC1A70CB28A9}" srcOrd="5" destOrd="0" presId="urn:microsoft.com/office/officeart/2005/8/layout/orgChart1"/>
    <dgm:cxn modelId="{A2062D5C-BB41-4316-8DF8-6FFC6299BDB9}" type="presParOf" srcId="{EAAA62BB-9FC6-46E0-B20D-CC1A70CB28A9}" destId="{D0BD4B7D-1612-4738-A1AD-85B4B670F56A}" srcOrd="0" destOrd="0" presId="urn:microsoft.com/office/officeart/2005/8/layout/orgChart1"/>
    <dgm:cxn modelId="{FB0447D1-F8E4-4E97-8EE1-FAEC8B7021DF}" type="presParOf" srcId="{D0BD4B7D-1612-4738-A1AD-85B4B670F56A}" destId="{847EE679-A63B-473F-A5CF-801AACAF3C63}" srcOrd="0" destOrd="0" presId="urn:microsoft.com/office/officeart/2005/8/layout/orgChart1"/>
    <dgm:cxn modelId="{60086D7D-88D4-41D8-BA98-CC01695DB461}" type="presParOf" srcId="{D0BD4B7D-1612-4738-A1AD-85B4B670F56A}" destId="{5AB8A781-ADA0-4921-B609-5E76C3B1644D}" srcOrd="1" destOrd="0" presId="urn:microsoft.com/office/officeart/2005/8/layout/orgChart1"/>
    <dgm:cxn modelId="{168E6217-72C3-4F8E-B8DC-0C1159775B67}" type="presParOf" srcId="{EAAA62BB-9FC6-46E0-B20D-CC1A70CB28A9}" destId="{F73A2DA9-FC01-4E1E-BB6A-24ED9A5C54A9}" srcOrd="1" destOrd="0" presId="urn:microsoft.com/office/officeart/2005/8/layout/orgChart1"/>
    <dgm:cxn modelId="{72F6E057-BE06-4140-A3AF-C56EF481CB20}" type="presParOf" srcId="{EAAA62BB-9FC6-46E0-B20D-CC1A70CB28A9}" destId="{7C36D829-8AAD-4896-A8EE-CFB68F90384D}" srcOrd="2" destOrd="0" presId="urn:microsoft.com/office/officeart/2005/8/layout/orgChart1"/>
    <dgm:cxn modelId="{D3EAACF6-9554-4498-8665-2BC1E6C6B8E6}" type="presParOf" srcId="{1097B99E-0647-3F42-9AD4-2814AFAA5B5F}" destId="{92B94817-75E0-4172-AA75-1F15CD46DF4F}" srcOrd="6" destOrd="0" presId="urn:microsoft.com/office/officeart/2005/8/layout/orgChart1"/>
    <dgm:cxn modelId="{78E9CE4E-E119-4096-92EE-2BC7B8DCA3B7}" type="presParOf" srcId="{1097B99E-0647-3F42-9AD4-2814AFAA5B5F}" destId="{70D372A6-D9D8-4E2B-8E7C-C9FA247A888A}" srcOrd="7" destOrd="0" presId="urn:microsoft.com/office/officeart/2005/8/layout/orgChart1"/>
    <dgm:cxn modelId="{1CECBBEA-B88C-44AB-AC67-0DB843E7919C}" type="presParOf" srcId="{70D372A6-D9D8-4E2B-8E7C-C9FA247A888A}" destId="{8F432797-5542-4412-B46B-D5B16FD32BB8}" srcOrd="0" destOrd="0" presId="urn:microsoft.com/office/officeart/2005/8/layout/orgChart1"/>
    <dgm:cxn modelId="{90FCA4B6-E82D-48DD-A0B7-6819C0638394}" type="presParOf" srcId="{8F432797-5542-4412-B46B-D5B16FD32BB8}" destId="{4FB3BCAE-E59B-4871-8138-C04932D1D4C5}" srcOrd="0" destOrd="0" presId="urn:microsoft.com/office/officeart/2005/8/layout/orgChart1"/>
    <dgm:cxn modelId="{1FE36D52-F272-4308-B4D0-79392B9FF87E}" type="presParOf" srcId="{8F432797-5542-4412-B46B-D5B16FD32BB8}" destId="{3A945D74-3CE1-4404-A9CA-11DA7BBA64F0}" srcOrd="1" destOrd="0" presId="urn:microsoft.com/office/officeart/2005/8/layout/orgChart1"/>
    <dgm:cxn modelId="{30D3D73B-F1B5-4562-B767-67691F74138D}" type="presParOf" srcId="{70D372A6-D9D8-4E2B-8E7C-C9FA247A888A}" destId="{1382FB71-B3A3-4005-87A9-F5FF6E100AE7}" srcOrd="1" destOrd="0" presId="urn:microsoft.com/office/officeart/2005/8/layout/orgChart1"/>
    <dgm:cxn modelId="{45B73160-88F9-4BF8-90F1-49C4342802F6}" type="presParOf" srcId="{70D372A6-D9D8-4E2B-8E7C-C9FA247A888A}" destId="{5F7D719A-2A00-46D9-B034-7A210F002542}" srcOrd="2" destOrd="0" presId="urn:microsoft.com/office/officeart/2005/8/layout/orgChart1"/>
    <dgm:cxn modelId="{570A0B75-66D7-43EB-B89A-792C6E52B953}" type="presParOf" srcId="{1097B99E-0647-3F42-9AD4-2814AFAA5B5F}" destId="{7A5A863A-0104-4E20-9AA1-D23A85448E17}" srcOrd="8" destOrd="0" presId="urn:microsoft.com/office/officeart/2005/8/layout/orgChart1"/>
    <dgm:cxn modelId="{C2D6C60F-D1FD-4654-B338-19C26FA19354}" type="presParOf" srcId="{1097B99E-0647-3F42-9AD4-2814AFAA5B5F}" destId="{7EAEC195-5E9E-4D80-9D36-9CAA36622108}" srcOrd="9" destOrd="0" presId="urn:microsoft.com/office/officeart/2005/8/layout/orgChart1"/>
    <dgm:cxn modelId="{3741CF29-7AF5-44C5-B162-08BFB5EA33D3}" type="presParOf" srcId="{7EAEC195-5E9E-4D80-9D36-9CAA36622108}" destId="{9E00E857-24B9-469A-BC64-DFB00582F858}" srcOrd="0" destOrd="0" presId="urn:microsoft.com/office/officeart/2005/8/layout/orgChart1"/>
    <dgm:cxn modelId="{489AFA39-440F-4A9A-8435-CB933F1681F5}" type="presParOf" srcId="{9E00E857-24B9-469A-BC64-DFB00582F858}" destId="{8EBDBB26-FA1A-4866-976D-123A98FA6F1B}" srcOrd="0" destOrd="0" presId="urn:microsoft.com/office/officeart/2005/8/layout/orgChart1"/>
    <dgm:cxn modelId="{41FF761A-71C5-4124-8483-A2D23AB60D5E}" type="presParOf" srcId="{9E00E857-24B9-469A-BC64-DFB00582F858}" destId="{2A05581B-748E-49CF-A655-5A8E2EACF5D8}" srcOrd="1" destOrd="0" presId="urn:microsoft.com/office/officeart/2005/8/layout/orgChart1"/>
    <dgm:cxn modelId="{9F61E6F6-CEA0-479B-B224-5C7E4C83AF15}" type="presParOf" srcId="{7EAEC195-5E9E-4D80-9D36-9CAA36622108}" destId="{835A974D-7212-48C9-801E-0D6763897F85}" srcOrd="1" destOrd="0" presId="urn:microsoft.com/office/officeart/2005/8/layout/orgChart1"/>
    <dgm:cxn modelId="{8DA12B4F-CA64-4599-9770-93A2FA35C88B}" type="presParOf" srcId="{7EAEC195-5E9E-4D80-9D36-9CAA36622108}" destId="{A99DAAA1-90EE-4454-994E-9F28E2715E7C}" srcOrd="2" destOrd="0" presId="urn:microsoft.com/office/officeart/2005/8/layout/orgChart1"/>
    <dgm:cxn modelId="{0825135F-675A-4FD5-A9B3-F85DCE6E9202}" type="presParOf" srcId="{8B0C6A80-36E5-8143-B98C-F13856D6C57A}" destId="{1DC303F6-65B4-C845-97BB-A50062C5F8B4}" srcOrd="2" destOrd="0" presId="urn:microsoft.com/office/officeart/2005/8/layout/orgChart1"/>
    <dgm:cxn modelId="{A1E16934-D943-4511-A9A5-6A3423CF2AA4}" type="presParOf" srcId="{A41E3A87-D815-564B-852E-B46378A8DDB2}" destId="{72BBC723-9B7C-334D-A6AA-27FC229642E9}" srcOrd="8" destOrd="0" presId="urn:microsoft.com/office/officeart/2005/8/layout/orgChart1"/>
    <dgm:cxn modelId="{05AE2005-81DC-4E90-8CB9-2D2F38BD9449}" type="presParOf" srcId="{A41E3A87-D815-564B-852E-B46378A8DDB2}" destId="{8E53A898-B78E-204C-BF93-576DA404A031}" srcOrd="9" destOrd="0" presId="urn:microsoft.com/office/officeart/2005/8/layout/orgChart1"/>
    <dgm:cxn modelId="{0CFD6253-09A7-4C72-92DF-5E4F2983F593}" type="presParOf" srcId="{8E53A898-B78E-204C-BF93-576DA404A031}" destId="{32F8E9F0-B989-EE4C-A7F5-7A71062E072B}" srcOrd="0" destOrd="0" presId="urn:microsoft.com/office/officeart/2005/8/layout/orgChart1"/>
    <dgm:cxn modelId="{D1D925C4-71FD-41E2-ADDD-4DF9530CD8F0}" type="presParOf" srcId="{32F8E9F0-B989-EE4C-A7F5-7A71062E072B}" destId="{BB54FDA3-6EA0-034B-92B7-BA1782717CA2}" srcOrd="0" destOrd="0" presId="urn:microsoft.com/office/officeart/2005/8/layout/orgChart1"/>
    <dgm:cxn modelId="{0C6E1BA6-E32C-4069-8F37-1C6BECE62F69}" type="presParOf" srcId="{32F8E9F0-B989-EE4C-A7F5-7A71062E072B}" destId="{D07845B2-D240-3547-A33D-F80285306458}" srcOrd="1" destOrd="0" presId="urn:microsoft.com/office/officeart/2005/8/layout/orgChart1"/>
    <dgm:cxn modelId="{E9869766-5E74-42FF-85C2-FD160A671F55}" type="presParOf" srcId="{8E53A898-B78E-204C-BF93-576DA404A031}" destId="{420AA38A-7960-B341-8BFF-4EE315F7AF87}" srcOrd="1" destOrd="0" presId="urn:microsoft.com/office/officeart/2005/8/layout/orgChart1"/>
    <dgm:cxn modelId="{ABCA7077-7DFD-46B9-B9D0-0AFB62E0F81A}" type="presParOf" srcId="{420AA38A-7960-B341-8BFF-4EE315F7AF87}" destId="{693EC3EB-0465-B34F-AAA7-F954D954D6DB}" srcOrd="0" destOrd="0" presId="urn:microsoft.com/office/officeart/2005/8/layout/orgChart1"/>
    <dgm:cxn modelId="{D01D2B3D-920A-416B-88B7-09299524B398}" type="presParOf" srcId="{420AA38A-7960-B341-8BFF-4EE315F7AF87}" destId="{36A9A177-A301-8B4F-AD20-624E80924F69}" srcOrd="1" destOrd="0" presId="urn:microsoft.com/office/officeart/2005/8/layout/orgChart1"/>
    <dgm:cxn modelId="{72B5A4CA-9D32-44E9-8960-4FE039EED557}" type="presParOf" srcId="{36A9A177-A301-8B4F-AD20-624E80924F69}" destId="{941AF9B6-63C5-1F42-B02F-651F48273E82}" srcOrd="0" destOrd="0" presId="urn:microsoft.com/office/officeart/2005/8/layout/orgChart1"/>
    <dgm:cxn modelId="{CA481EA3-8030-4B79-BB57-0D6C0CA4D3FD}" type="presParOf" srcId="{941AF9B6-63C5-1F42-B02F-651F48273E82}" destId="{C9A4B63C-78DC-064B-A0BF-F853548DD702}" srcOrd="0" destOrd="0" presId="urn:microsoft.com/office/officeart/2005/8/layout/orgChart1"/>
    <dgm:cxn modelId="{5E913D14-25EE-429B-90EC-054745351305}" type="presParOf" srcId="{941AF9B6-63C5-1F42-B02F-651F48273E82}" destId="{A26034A3-185A-0445-A756-8FE854ED65A4}" srcOrd="1" destOrd="0" presId="urn:microsoft.com/office/officeart/2005/8/layout/orgChart1"/>
    <dgm:cxn modelId="{88860892-62D7-41BA-9F96-411C8AA2A17B}" type="presParOf" srcId="{36A9A177-A301-8B4F-AD20-624E80924F69}" destId="{BEB692C4-6AB7-E14A-98D9-C306B0B9904E}" srcOrd="1" destOrd="0" presId="urn:microsoft.com/office/officeart/2005/8/layout/orgChart1"/>
    <dgm:cxn modelId="{FF137660-3FC9-4CAE-9536-A33A20D1CAB0}" type="presParOf" srcId="{BEB692C4-6AB7-E14A-98D9-C306B0B9904E}" destId="{77E58118-9116-2B43-821D-0D0EC07C4780}" srcOrd="0" destOrd="0" presId="urn:microsoft.com/office/officeart/2005/8/layout/orgChart1"/>
    <dgm:cxn modelId="{BB449BF8-D03B-4BFD-AC2F-9F6E4621E47B}" type="presParOf" srcId="{BEB692C4-6AB7-E14A-98D9-C306B0B9904E}" destId="{5CA02ADB-7039-CB45-B643-1BC9C0A335F3}" srcOrd="1" destOrd="0" presId="urn:microsoft.com/office/officeart/2005/8/layout/orgChart1"/>
    <dgm:cxn modelId="{E51D7B2A-A9E6-4537-A081-F1CF7FD4C8A0}" type="presParOf" srcId="{5CA02ADB-7039-CB45-B643-1BC9C0A335F3}" destId="{14DD4731-E9DA-0C4E-B42E-DCACF59F7606}" srcOrd="0" destOrd="0" presId="urn:microsoft.com/office/officeart/2005/8/layout/orgChart1"/>
    <dgm:cxn modelId="{049963E6-3212-4CF6-AA62-AC8B13DB0932}" type="presParOf" srcId="{14DD4731-E9DA-0C4E-B42E-DCACF59F7606}" destId="{37A94B54-FB13-EA48-8805-A79F9C7E41FC}" srcOrd="0" destOrd="0" presId="urn:microsoft.com/office/officeart/2005/8/layout/orgChart1"/>
    <dgm:cxn modelId="{C84BE6E9-6F95-4CDB-94E6-7D490A9CCBAC}" type="presParOf" srcId="{14DD4731-E9DA-0C4E-B42E-DCACF59F7606}" destId="{C65F3340-283B-044E-B274-451566567EF3}" srcOrd="1" destOrd="0" presId="urn:microsoft.com/office/officeart/2005/8/layout/orgChart1"/>
    <dgm:cxn modelId="{93529599-8816-4F7C-ADD9-B81E9B96B29F}" type="presParOf" srcId="{5CA02ADB-7039-CB45-B643-1BC9C0A335F3}" destId="{0DDE1461-3B83-C140-909C-7261ABC826BA}" srcOrd="1" destOrd="0" presId="urn:microsoft.com/office/officeart/2005/8/layout/orgChart1"/>
    <dgm:cxn modelId="{65DD112C-788D-4EAC-A7E1-6BE6F83458B1}" type="presParOf" srcId="{0DDE1461-3B83-C140-909C-7261ABC826BA}" destId="{27CA0A1A-4041-4F62-8DFF-B46FA1378843}" srcOrd="0" destOrd="0" presId="urn:microsoft.com/office/officeart/2005/8/layout/orgChart1"/>
    <dgm:cxn modelId="{A8A49AD5-3FE3-4492-A7A4-469CF4355E79}" type="presParOf" srcId="{0DDE1461-3B83-C140-909C-7261ABC826BA}" destId="{A7943243-EE17-4980-A974-79CBC0204B2A}" srcOrd="1" destOrd="0" presId="urn:microsoft.com/office/officeart/2005/8/layout/orgChart1"/>
    <dgm:cxn modelId="{4A160B05-6570-4894-BB39-1FDC2EDE5406}" type="presParOf" srcId="{A7943243-EE17-4980-A974-79CBC0204B2A}" destId="{0C12ABEC-C02F-4FFD-BC09-E9BE8F12264A}" srcOrd="0" destOrd="0" presId="urn:microsoft.com/office/officeart/2005/8/layout/orgChart1"/>
    <dgm:cxn modelId="{4D86F2A7-A9E0-47EC-9DA1-2C75B0FE0271}" type="presParOf" srcId="{0C12ABEC-C02F-4FFD-BC09-E9BE8F12264A}" destId="{4236286C-0F31-4387-92B8-400AE9536D02}" srcOrd="0" destOrd="0" presId="urn:microsoft.com/office/officeart/2005/8/layout/orgChart1"/>
    <dgm:cxn modelId="{E58D803A-576F-4A04-A34F-100139A52F84}" type="presParOf" srcId="{0C12ABEC-C02F-4FFD-BC09-E9BE8F12264A}" destId="{A9F72F76-3813-4B0D-935C-0BA73151B0DD}" srcOrd="1" destOrd="0" presId="urn:microsoft.com/office/officeart/2005/8/layout/orgChart1"/>
    <dgm:cxn modelId="{7D2D5C02-46F5-41E2-A0F4-B42935D8C79F}" type="presParOf" srcId="{A7943243-EE17-4980-A974-79CBC0204B2A}" destId="{BFBD0AB4-CCB2-4AB7-B67A-012768D4C26F}" srcOrd="1" destOrd="0" presId="urn:microsoft.com/office/officeart/2005/8/layout/orgChart1"/>
    <dgm:cxn modelId="{DF9D25F4-2568-43F4-81AC-FFD2C6AC9339}" type="presParOf" srcId="{A7943243-EE17-4980-A974-79CBC0204B2A}" destId="{68E9DE01-1CEB-4CF3-A554-E91F81B03740}" srcOrd="2" destOrd="0" presId="urn:microsoft.com/office/officeart/2005/8/layout/orgChart1"/>
    <dgm:cxn modelId="{BA9D60FD-83BC-4F5B-ABE4-FD0AA3602098}" type="presParOf" srcId="{5CA02ADB-7039-CB45-B643-1BC9C0A335F3}" destId="{9F9EBB7E-5A02-1B4A-89FC-196F141035E0}" srcOrd="2" destOrd="0" presId="urn:microsoft.com/office/officeart/2005/8/layout/orgChart1"/>
    <dgm:cxn modelId="{F0386659-F9C2-4B61-BF65-BA32BDA08948}" type="presParOf" srcId="{36A9A177-A301-8B4F-AD20-624E80924F69}" destId="{BF522DD0-A873-5E44-AABC-7B27EDBEE7A5}" srcOrd="2" destOrd="0" presId="urn:microsoft.com/office/officeart/2005/8/layout/orgChart1"/>
    <dgm:cxn modelId="{8435238E-320A-442B-8618-1414A728508E}" type="presParOf" srcId="{420AA38A-7960-B341-8BFF-4EE315F7AF87}" destId="{F8C5024F-B3E4-7947-A2E5-487A7132DF73}" srcOrd="2" destOrd="0" presId="urn:microsoft.com/office/officeart/2005/8/layout/orgChart1"/>
    <dgm:cxn modelId="{9FF4650E-D2E9-4604-8C1D-6E12F083736B}" type="presParOf" srcId="{420AA38A-7960-B341-8BFF-4EE315F7AF87}" destId="{63F4B0F2-8FE1-F146-9346-D28DFA29A2FE}" srcOrd="3" destOrd="0" presId="urn:microsoft.com/office/officeart/2005/8/layout/orgChart1"/>
    <dgm:cxn modelId="{47E92288-55D4-44C0-910F-DF08026BCBB4}" type="presParOf" srcId="{63F4B0F2-8FE1-F146-9346-D28DFA29A2FE}" destId="{9211832A-B377-8D45-9F3B-B2620E469DB9}" srcOrd="0" destOrd="0" presId="urn:microsoft.com/office/officeart/2005/8/layout/orgChart1"/>
    <dgm:cxn modelId="{033A513F-B335-4D68-957B-EB20382BE877}" type="presParOf" srcId="{9211832A-B377-8D45-9F3B-B2620E469DB9}" destId="{109115EA-6F54-6F4D-B00B-C989DD25E1BD}" srcOrd="0" destOrd="0" presId="urn:microsoft.com/office/officeart/2005/8/layout/orgChart1"/>
    <dgm:cxn modelId="{75E0A241-363F-40E3-B7F9-141BA3937F28}" type="presParOf" srcId="{9211832A-B377-8D45-9F3B-B2620E469DB9}" destId="{10BB7B6B-BBB1-B644-A1D7-38734B6ECC19}" srcOrd="1" destOrd="0" presId="urn:microsoft.com/office/officeart/2005/8/layout/orgChart1"/>
    <dgm:cxn modelId="{9274924A-BB5B-4FA3-A921-85C7CA407785}" type="presParOf" srcId="{63F4B0F2-8FE1-F146-9346-D28DFA29A2FE}" destId="{C259E129-F89D-3E42-BD1F-E3BA2BCEDED8}" srcOrd="1" destOrd="0" presId="urn:microsoft.com/office/officeart/2005/8/layout/orgChart1"/>
    <dgm:cxn modelId="{E84E9412-9BF0-466C-BD17-CC3D81BDF725}" type="presParOf" srcId="{63F4B0F2-8FE1-F146-9346-D28DFA29A2FE}" destId="{58AB429C-2200-DE4F-91B7-46D014C161FC}" srcOrd="2" destOrd="0" presId="urn:microsoft.com/office/officeart/2005/8/layout/orgChart1"/>
    <dgm:cxn modelId="{45CFA748-A6EC-4035-BDB3-B1C02403E9ED}" type="presParOf" srcId="{8E53A898-B78E-204C-BF93-576DA404A031}" destId="{4682114B-09BE-2E4F-97CE-ADC354DBA352}" srcOrd="2" destOrd="0" presId="urn:microsoft.com/office/officeart/2005/8/layout/orgChart1"/>
    <dgm:cxn modelId="{78B1E121-BE5F-464E-8FEB-A24582B02AB5}" type="presParOf" srcId="{A41E3A87-D815-564B-852E-B46378A8DDB2}" destId="{8214709E-5704-284D-AD75-A71705FD4F64}" srcOrd="10" destOrd="0" presId="urn:microsoft.com/office/officeart/2005/8/layout/orgChart1"/>
    <dgm:cxn modelId="{0615559E-D575-44EE-B695-C02581B922DD}" type="presParOf" srcId="{A41E3A87-D815-564B-852E-B46378A8DDB2}" destId="{3F000F42-BCAC-9B46-8FE2-C74971184837}" srcOrd="11" destOrd="0" presId="urn:microsoft.com/office/officeart/2005/8/layout/orgChart1"/>
    <dgm:cxn modelId="{99D1EAAF-4D94-441E-A3C0-F5D430F8DB62}" type="presParOf" srcId="{3F000F42-BCAC-9B46-8FE2-C74971184837}" destId="{450638FC-FB6B-8B45-9BB5-F54E5BEAE866}" srcOrd="0" destOrd="0" presId="urn:microsoft.com/office/officeart/2005/8/layout/orgChart1"/>
    <dgm:cxn modelId="{E6FFFD73-3F36-4C1C-82CB-5D911B3C8412}" type="presParOf" srcId="{450638FC-FB6B-8B45-9BB5-F54E5BEAE866}" destId="{D1A900A5-F870-364E-9A7F-275EFC9F6FF9}" srcOrd="0" destOrd="0" presId="urn:microsoft.com/office/officeart/2005/8/layout/orgChart1"/>
    <dgm:cxn modelId="{FB33EE56-2449-4311-B7A7-75BD6E24999B}" type="presParOf" srcId="{450638FC-FB6B-8B45-9BB5-F54E5BEAE866}" destId="{32DF481F-5490-A64D-99A3-D92046F21DA2}" srcOrd="1" destOrd="0" presId="urn:microsoft.com/office/officeart/2005/8/layout/orgChart1"/>
    <dgm:cxn modelId="{B6C898AE-7FA9-4B24-8115-43CFC2CDDF79}" type="presParOf" srcId="{3F000F42-BCAC-9B46-8FE2-C74971184837}" destId="{30BDB1C0-8546-4647-B48E-26F767BE6E9A}" srcOrd="1" destOrd="0" presId="urn:microsoft.com/office/officeart/2005/8/layout/orgChart1"/>
    <dgm:cxn modelId="{06107907-B4D6-4911-AFF8-AABF81A6D351}" type="presParOf" srcId="{30BDB1C0-8546-4647-B48E-26F767BE6E9A}" destId="{94AFD28E-EC35-4EFD-904A-7301CFF922D6}" srcOrd="0" destOrd="0" presId="urn:microsoft.com/office/officeart/2005/8/layout/orgChart1"/>
    <dgm:cxn modelId="{D80F7737-0579-4FFD-9EA3-6FED231CD80D}" type="presParOf" srcId="{30BDB1C0-8546-4647-B48E-26F767BE6E9A}" destId="{9B68D7EE-20B0-4AB5-BD9B-855B3B6CED9F}" srcOrd="1" destOrd="0" presId="urn:microsoft.com/office/officeart/2005/8/layout/orgChart1"/>
    <dgm:cxn modelId="{E84BA2C3-D14C-43A0-A0F8-67B124D7F24C}" type="presParOf" srcId="{9B68D7EE-20B0-4AB5-BD9B-855B3B6CED9F}" destId="{26C22059-7D41-46FF-B487-F89A7BDFED96}" srcOrd="0" destOrd="0" presId="urn:microsoft.com/office/officeart/2005/8/layout/orgChart1"/>
    <dgm:cxn modelId="{0168B626-2280-44A0-AE6A-26A2BCF3EE4B}" type="presParOf" srcId="{26C22059-7D41-46FF-B487-F89A7BDFED96}" destId="{15CA64E1-20D0-4C19-BE71-896EF9150A3D}" srcOrd="0" destOrd="0" presId="urn:microsoft.com/office/officeart/2005/8/layout/orgChart1"/>
    <dgm:cxn modelId="{9A749113-54EE-4403-9150-8C8BB4F42B70}" type="presParOf" srcId="{26C22059-7D41-46FF-B487-F89A7BDFED96}" destId="{604DC1FD-8496-4C65-8314-D73D923129C3}" srcOrd="1" destOrd="0" presId="urn:microsoft.com/office/officeart/2005/8/layout/orgChart1"/>
    <dgm:cxn modelId="{A2EFAD22-ED92-4709-9DAA-07B99810C636}" type="presParOf" srcId="{9B68D7EE-20B0-4AB5-BD9B-855B3B6CED9F}" destId="{D77EDA44-97AF-420A-BC00-3FD1AE58AE05}" srcOrd="1" destOrd="0" presId="urn:microsoft.com/office/officeart/2005/8/layout/orgChart1"/>
    <dgm:cxn modelId="{99266356-AB01-46C5-A6BF-97F03F38AD22}" type="presParOf" srcId="{9B68D7EE-20B0-4AB5-BD9B-855B3B6CED9F}" destId="{BB455EBE-72A4-4074-BA7C-E9A81546F0CB}" srcOrd="2" destOrd="0" presId="urn:microsoft.com/office/officeart/2005/8/layout/orgChart1"/>
    <dgm:cxn modelId="{1F13751D-FD5A-4450-8B2D-DF9C76076DE5}" type="presParOf" srcId="{30BDB1C0-8546-4647-B48E-26F767BE6E9A}" destId="{90DB49F8-4062-4EDD-86E0-2BE7A8FED9A8}" srcOrd="2" destOrd="0" presId="urn:microsoft.com/office/officeart/2005/8/layout/orgChart1"/>
    <dgm:cxn modelId="{784B1365-34C8-4EEF-B679-B179128EE3E2}" type="presParOf" srcId="{30BDB1C0-8546-4647-B48E-26F767BE6E9A}" destId="{F8C1216B-8C51-477C-BC3B-1EFC1E8CF6F6}" srcOrd="3" destOrd="0" presId="urn:microsoft.com/office/officeart/2005/8/layout/orgChart1"/>
    <dgm:cxn modelId="{4E8948FF-1C12-4AAF-A565-C2950591A93F}" type="presParOf" srcId="{F8C1216B-8C51-477C-BC3B-1EFC1E8CF6F6}" destId="{61E1A08C-A952-4EBA-9EF6-E2E6FAD15195}" srcOrd="0" destOrd="0" presId="urn:microsoft.com/office/officeart/2005/8/layout/orgChart1"/>
    <dgm:cxn modelId="{741AA69A-8868-4BBC-8812-DFD361F7FE6C}" type="presParOf" srcId="{61E1A08C-A952-4EBA-9EF6-E2E6FAD15195}" destId="{FF2A6CD8-6544-4FF1-BE9F-0DB1B8A00FA5}" srcOrd="0" destOrd="0" presId="urn:microsoft.com/office/officeart/2005/8/layout/orgChart1"/>
    <dgm:cxn modelId="{93D2D6BA-108C-42E4-9E60-C081C81E9D60}" type="presParOf" srcId="{61E1A08C-A952-4EBA-9EF6-E2E6FAD15195}" destId="{7466DFE9-3213-46DB-ADE5-742353AF31B3}" srcOrd="1" destOrd="0" presId="urn:microsoft.com/office/officeart/2005/8/layout/orgChart1"/>
    <dgm:cxn modelId="{936A0EB6-43A5-48ED-B9A3-FD691055094E}" type="presParOf" srcId="{F8C1216B-8C51-477C-BC3B-1EFC1E8CF6F6}" destId="{3D69ADED-2219-4A89-B574-D0ABCBCE9365}" srcOrd="1" destOrd="0" presId="urn:microsoft.com/office/officeart/2005/8/layout/orgChart1"/>
    <dgm:cxn modelId="{BA3F9D70-0013-4B73-999F-3D82E7E9524D}" type="presParOf" srcId="{F8C1216B-8C51-477C-BC3B-1EFC1E8CF6F6}" destId="{B8DC2E6C-8667-4D0D-A2BC-603FA1084463}" srcOrd="2" destOrd="0" presId="urn:microsoft.com/office/officeart/2005/8/layout/orgChart1"/>
    <dgm:cxn modelId="{59187B6B-68F6-461F-B086-02F27A5A924B}" type="presParOf" srcId="{3F000F42-BCAC-9B46-8FE2-C74971184837}" destId="{77434BA8-5662-A345-BA2E-D5D9BA473A9A}" srcOrd="2" destOrd="0" presId="urn:microsoft.com/office/officeart/2005/8/layout/orgChart1"/>
    <dgm:cxn modelId="{4271E43A-FC1F-4A93-9ED7-7C16B32933CF}" type="presParOf" srcId="{A41E3A87-D815-564B-852E-B46378A8DDB2}" destId="{8BCE6D3B-417B-4FD7-A09C-65655CB59BF3}" srcOrd="12" destOrd="0" presId="urn:microsoft.com/office/officeart/2005/8/layout/orgChart1"/>
    <dgm:cxn modelId="{97FDC5C3-1852-4C4A-B29C-413769A26E9A}" type="presParOf" srcId="{A41E3A87-D815-564B-852E-B46378A8DDB2}" destId="{3F97CE8B-1565-4E85-A131-23E5A1400935}" srcOrd="13" destOrd="0" presId="urn:microsoft.com/office/officeart/2005/8/layout/orgChart1"/>
    <dgm:cxn modelId="{45C74195-86F8-4E3A-B3AA-25648F6557B3}" type="presParOf" srcId="{3F97CE8B-1565-4E85-A131-23E5A1400935}" destId="{73564780-FFCA-4EEB-9006-F17A6E036587}" srcOrd="0" destOrd="0" presId="urn:microsoft.com/office/officeart/2005/8/layout/orgChart1"/>
    <dgm:cxn modelId="{B8EE78E2-94F6-483F-AA5A-F409FC071AC1}" type="presParOf" srcId="{73564780-FFCA-4EEB-9006-F17A6E036587}" destId="{C591DDF2-2203-4143-8E9B-869304224D53}" srcOrd="0" destOrd="0" presId="urn:microsoft.com/office/officeart/2005/8/layout/orgChart1"/>
    <dgm:cxn modelId="{55286E7C-C7F5-4822-819B-5E8436582142}" type="presParOf" srcId="{73564780-FFCA-4EEB-9006-F17A6E036587}" destId="{9B6E4AC3-B35F-4FED-9B48-BB4DACEA18D4}" srcOrd="1" destOrd="0" presId="urn:microsoft.com/office/officeart/2005/8/layout/orgChart1"/>
    <dgm:cxn modelId="{42ED1102-5534-46E6-9196-C6E5CD75DE7C}" type="presParOf" srcId="{3F97CE8B-1565-4E85-A131-23E5A1400935}" destId="{CED1C57E-9BDB-4CB9-8D19-7C83FD55C826}" srcOrd="1" destOrd="0" presId="urn:microsoft.com/office/officeart/2005/8/layout/orgChart1"/>
    <dgm:cxn modelId="{F7F2183C-232D-426B-9EFE-3C4C436D636A}" type="presParOf" srcId="{CED1C57E-9BDB-4CB9-8D19-7C83FD55C826}" destId="{9DEE2A84-5D12-45B0-BBD7-D6A9AFFD8899}" srcOrd="0" destOrd="0" presId="urn:microsoft.com/office/officeart/2005/8/layout/orgChart1"/>
    <dgm:cxn modelId="{9782E0F8-D664-4DB8-9FDC-878ABEC9A56E}" type="presParOf" srcId="{CED1C57E-9BDB-4CB9-8D19-7C83FD55C826}" destId="{9185EFAB-A245-4500-90E5-8253FB5E39BA}" srcOrd="1" destOrd="0" presId="urn:microsoft.com/office/officeart/2005/8/layout/orgChart1"/>
    <dgm:cxn modelId="{3789C0B2-4961-481F-A310-AF54B9682021}" type="presParOf" srcId="{9185EFAB-A245-4500-90E5-8253FB5E39BA}" destId="{4D96714C-CC89-4931-BEBA-10863BEECE65}" srcOrd="0" destOrd="0" presId="urn:microsoft.com/office/officeart/2005/8/layout/orgChart1"/>
    <dgm:cxn modelId="{89CD2146-6CD5-41B4-AB4B-974A207EDCF0}" type="presParOf" srcId="{4D96714C-CC89-4931-BEBA-10863BEECE65}" destId="{FB060CDE-5DD0-412F-97CC-7539C6064715}" srcOrd="0" destOrd="0" presId="urn:microsoft.com/office/officeart/2005/8/layout/orgChart1"/>
    <dgm:cxn modelId="{B2A8E45B-6752-4420-BAD9-220673B7EB79}" type="presParOf" srcId="{4D96714C-CC89-4931-BEBA-10863BEECE65}" destId="{ADAA3ED2-F89E-40B7-AFBE-162B877A4C2C}" srcOrd="1" destOrd="0" presId="urn:microsoft.com/office/officeart/2005/8/layout/orgChart1"/>
    <dgm:cxn modelId="{3FC7805B-C8CC-46EE-BC87-2453E558F013}" type="presParOf" srcId="{9185EFAB-A245-4500-90E5-8253FB5E39BA}" destId="{C2680600-AEA4-4841-858E-DD6B6A645CAB}" srcOrd="1" destOrd="0" presId="urn:microsoft.com/office/officeart/2005/8/layout/orgChart1"/>
    <dgm:cxn modelId="{05221924-8C25-42E7-A1F6-BC8FD325CF31}" type="presParOf" srcId="{9185EFAB-A245-4500-90E5-8253FB5E39BA}" destId="{215AE90E-B53C-43EB-8C93-D422D802B675}" srcOrd="2" destOrd="0" presId="urn:microsoft.com/office/officeart/2005/8/layout/orgChart1"/>
    <dgm:cxn modelId="{074EB42B-790F-4A83-BEA8-287EED3319C0}" type="presParOf" srcId="{CED1C57E-9BDB-4CB9-8D19-7C83FD55C826}" destId="{495B3846-A7C5-4B2D-8F0C-523EA1FA199B}" srcOrd="2" destOrd="0" presId="urn:microsoft.com/office/officeart/2005/8/layout/orgChart1"/>
    <dgm:cxn modelId="{AFE4EE53-0FCF-4C28-92E2-4DE03526765E}" type="presParOf" srcId="{CED1C57E-9BDB-4CB9-8D19-7C83FD55C826}" destId="{FE1B8190-4E78-47F9-B613-0E3050BA57F8}" srcOrd="3" destOrd="0" presId="urn:microsoft.com/office/officeart/2005/8/layout/orgChart1"/>
    <dgm:cxn modelId="{5DF80714-F2D0-4AB7-8736-322DC2F218A9}" type="presParOf" srcId="{FE1B8190-4E78-47F9-B613-0E3050BA57F8}" destId="{AABF5970-47D2-4980-9D8A-0EDFEE7760B3}" srcOrd="0" destOrd="0" presId="urn:microsoft.com/office/officeart/2005/8/layout/orgChart1"/>
    <dgm:cxn modelId="{4E045E5B-FF17-47F1-ADC7-88AF4245326F}" type="presParOf" srcId="{AABF5970-47D2-4980-9D8A-0EDFEE7760B3}" destId="{C12DCAA8-FCE8-4773-AE44-90A3AE99214A}" srcOrd="0" destOrd="0" presId="urn:microsoft.com/office/officeart/2005/8/layout/orgChart1"/>
    <dgm:cxn modelId="{EFF9BE9D-0FDC-40E5-812C-56CB4E889FA7}" type="presParOf" srcId="{AABF5970-47D2-4980-9D8A-0EDFEE7760B3}" destId="{A2F48C41-DF59-42EE-A50E-5F10EB1F3874}" srcOrd="1" destOrd="0" presId="urn:microsoft.com/office/officeart/2005/8/layout/orgChart1"/>
    <dgm:cxn modelId="{98CA4B4C-B8CB-4FD2-A14C-D17AE56445F3}" type="presParOf" srcId="{FE1B8190-4E78-47F9-B613-0E3050BA57F8}" destId="{0B8D9FA6-5A66-47FF-8EC4-573D5B9BFBA6}" srcOrd="1" destOrd="0" presId="urn:microsoft.com/office/officeart/2005/8/layout/orgChart1"/>
    <dgm:cxn modelId="{014F2786-EB3B-4721-AE6C-3E1B3CE620C7}" type="presParOf" srcId="{FE1B8190-4E78-47F9-B613-0E3050BA57F8}" destId="{851D0421-6BEC-4EE0-B35D-30CC8556D1E1}" srcOrd="2" destOrd="0" presId="urn:microsoft.com/office/officeart/2005/8/layout/orgChart1"/>
    <dgm:cxn modelId="{9EFBC189-A7E8-471E-BDE1-3771634988A9}" type="presParOf" srcId="{3F97CE8B-1565-4E85-A131-23E5A1400935}" destId="{29D57D17-C3BB-445D-9037-34D9D0AD26D5}" srcOrd="2" destOrd="0" presId="urn:microsoft.com/office/officeart/2005/8/layout/orgChart1"/>
    <dgm:cxn modelId="{7C556A84-C6A4-443D-A94B-330077751AF5}" type="presParOf" srcId="{4CD699F2-42C8-5843-80C3-E573600E83B7}" destId="{F066213D-6B2B-4542-B1B5-C1AA6141E37E}" srcOrd="2" destOrd="0" presId="urn:microsoft.com/office/officeart/2005/8/layout/orgChart1"/>
  </dgm:cxnLst>
  <dgm:bg>
    <a:gradFill>
      <a:gsLst>
        <a:gs pos="0">
          <a:schemeClr val="tx2">
            <a:lumMod val="50000"/>
          </a:schemeClr>
        </a:gs>
        <a:gs pos="100000">
          <a:schemeClr val="accent1">
            <a:lumMod val="75000"/>
          </a:schemeClr>
        </a:gs>
      </a:gsLst>
      <a:lin ang="5400000" scaled="1"/>
    </a:gradFill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5B3846-A7C5-4B2D-8F0C-523EA1FA199B}">
      <dsp:nvSpPr>
        <dsp:cNvPr id="0" name=""/>
        <dsp:cNvSpPr/>
      </dsp:nvSpPr>
      <dsp:spPr>
        <a:xfrm>
          <a:off x="10671839" y="1938605"/>
          <a:ext cx="167302" cy="12322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32223"/>
              </a:lnTo>
              <a:lnTo>
                <a:pt x="167302" y="1232223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EE2A84-5D12-45B0-BBD7-D6A9AFFD8899}">
      <dsp:nvSpPr>
        <dsp:cNvPr id="0" name=""/>
        <dsp:cNvSpPr/>
      </dsp:nvSpPr>
      <dsp:spPr>
        <a:xfrm>
          <a:off x="10671839" y="1938605"/>
          <a:ext cx="167302" cy="4376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7623"/>
              </a:lnTo>
              <a:lnTo>
                <a:pt x="167302" y="437623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BCE6D3B-417B-4FD7-A09C-65655CB59BF3}">
      <dsp:nvSpPr>
        <dsp:cNvPr id="0" name=""/>
        <dsp:cNvSpPr/>
      </dsp:nvSpPr>
      <dsp:spPr>
        <a:xfrm>
          <a:off x="5839298" y="1154491"/>
          <a:ext cx="5280203" cy="2245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7024"/>
              </a:lnTo>
              <a:lnTo>
                <a:pt x="5280203" y="107024"/>
              </a:lnTo>
              <a:lnTo>
                <a:pt x="5280203" y="224536"/>
              </a:lnTo>
            </a:path>
          </a:pathLst>
        </a:custGeom>
        <a:noFill/>
        <a:ln w="127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DB49F8-4062-4EDD-86E0-2BE7A8FED9A8}">
      <dsp:nvSpPr>
        <dsp:cNvPr id="0" name=""/>
        <dsp:cNvSpPr/>
      </dsp:nvSpPr>
      <dsp:spPr>
        <a:xfrm>
          <a:off x="9145446" y="1869989"/>
          <a:ext cx="196042" cy="110631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06315"/>
              </a:lnTo>
              <a:lnTo>
                <a:pt x="196042" y="1106315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AFD28E-EC35-4EFD-904A-7301CFF922D6}">
      <dsp:nvSpPr>
        <dsp:cNvPr id="0" name=""/>
        <dsp:cNvSpPr/>
      </dsp:nvSpPr>
      <dsp:spPr>
        <a:xfrm>
          <a:off x="9145446" y="1869989"/>
          <a:ext cx="192774" cy="4771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77199"/>
              </a:lnTo>
              <a:lnTo>
                <a:pt x="192774" y="477199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214709E-5704-284D-AD75-A71705FD4F64}">
      <dsp:nvSpPr>
        <dsp:cNvPr id="0" name=""/>
        <dsp:cNvSpPr/>
      </dsp:nvSpPr>
      <dsp:spPr>
        <a:xfrm>
          <a:off x="5839298" y="1154491"/>
          <a:ext cx="3811199" cy="23373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6218"/>
              </a:lnTo>
              <a:lnTo>
                <a:pt x="3811199" y="116218"/>
              </a:lnTo>
              <a:lnTo>
                <a:pt x="3811199" y="233730"/>
              </a:lnTo>
            </a:path>
          </a:pathLst>
        </a:custGeom>
        <a:noFill/>
        <a:ln w="127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C5024F-B3E4-7947-A2E5-487A7132DF73}">
      <dsp:nvSpPr>
        <dsp:cNvPr id="0" name=""/>
        <dsp:cNvSpPr/>
      </dsp:nvSpPr>
      <dsp:spPr>
        <a:xfrm>
          <a:off x="7723055" y="1871282"/>
          <a:ext cx="748826" cy="2350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7511"/>
              </a:lnTo>
              <a:lnTo>
                <a:pt x="748826" y="117511"/>
              </a:lnTo>
              <a:lnTo>
                <a:pt x="748826" y="235022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7CA0A1A-4041-4F62-8DFF-B46FA1378843}">
      <dsp:nvSpPr>
        <dsp:cNvPr id="0" name=""/>
        <dsp:cNvSpPr/>
      </dsp:nvSpPr>
      <dsp:spPr>
        <a:xfrm>
          <a:off x="6469176" y="3304864"/>
          <a:ext cx="189394" cy="4759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75906"/>
              </a:lnTo>
              <a:lnTo>
                <a:pt x="189394" y="475906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7E58118-9116-2B43-821D-0D0EC07C4780}">
      <dsp:nvSpPr>
        <dsp:cNvPr id="0" name=""/>
        <dsp:cNvSpPr/>
      </dsp:nvSpPr>
      <dsp:spPr>
        <a:xfrm>
          <a:off x="6928508" y="2588073"/>
          <a:ext cx="91440" cy="23502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35022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3EC3EB-0465-B34F-AAA7-F954D954D6DB}">
      <dsp:nvSpPr>
        <dsp:cNvPr id="0" name=""/>
        <dsp:cNvSpPr/>
      </dsp:nvSpPr>
      <dsp:spPr>
        <a:xfrm>
          <a:off x="6974228" y="1871282"/>
          <a:ext cx="748826" cy="235022"/>
        </a:xfrm>
        <a:custGeom>
          <a:avLst/>
          <a:gdLst/>
          <a:ahLst/>
          <a:cxnLst/>
          <a:rect l="0" t="0" r="0" b="0"/>
          <a:pathLst>
            <a:path>
              <a:moveTo>
                <a:pt x="748826" y="0"/>
              </a:moveTo>
              <a:lnTo>
                <a:pt x="748826" y="117511"/>
              </a:lnTo>
              <a:lnTo>
                <a:pt x="0" y="117511"/>
              </a:lnTo>
              <a:lnTo>
                <a:pt x="0" y="235022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BBC723-9B7C-334D-A6AA-27FC229642E9}">
      <dsp:nvSpPr>
        <dsp:cNvPr id="0" name=""/>
        <dsp:cNvSpPr/>
      </dsp:nvSpPr>
      <dsp:spPr>
        <a:xfrm>
          <a:off x="5839298" y="1154491"/>
          <a:ext cx="1883756" cy="2350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7511"/>
              </a:lnTo>
              <a:lnTo>
                <a:pt x="1883756" y="117511"/>
              </a:lnTo>
              <a:lnTo>
                <a:pt x="1883756" y="235022"/>
              </a:lnTo>
            </a:path>
          </a:pathLst>
        </a:custGeom>
        <a:noFill/>
        <a:ln w="127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5A863A-0104-4E20-9AA1-D23A85448E17}">
      <dsp:nvSpPr>
        <dsp:cNvPr id="0" name=""/>
        <dsp:cNvSpPr/>
      </dsp:nvSpPr>
      <dsp:spPr>
        <a:xfrm>
          <a:off x="4655864" y="1871282"/>
          <a:ext cx="189394" cy="33430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43071"/>
              </a:lnTo>
              <a:lnTo>
                <a:pt x="189394" y="3343071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2B94817-75E0-4172-AA75-1F15CD46DF4F}">
      <dsp:nvSpPr>
        <dsp:cNvPr id="0" name=""/>
        <dsp:cNvSpPr/>
      </dsp:nvSpPr>
      <dsp:spPr>
        <a:xfrm>
          <a:off x="4655864" y="1871282"/>
          <a:ext cx="189394" cy="26262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26280"/>
              </a:lnTo>
              <a:lnTo>
                <a:pt x="189394" y="2626280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3AE09D-6CC1-422F-A633-D9B4FB0F3304}">
      <dsp:nvSpPr>
        <dsp:cNvPr id="0" name=""/>
        <dsp:cNvSpPr/>
      </dsp:nvSpPr>
      <dsp:spPr>
        <a:xfrm>
          <a:off x="4655864" y="1871282"/>
          <a:ext cx="189394" cy="19094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09489"/>
              </a:lnTo>
              <a:lnTo>
                <a:pt x="189394" y="1909489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2C6C0B-9A9E-4FC4-AAD0-F9AAADCE02ED}">
      <dsp:nvSpPr>
        <dsp:cNvPr id="0" name=""/>
        <dsp:cNvSpPr/>
      </dsp:nvSpPr>
      <dsp:spPr>
        <a:xfrm>
          <a:off x="4655864" y="1871282"/>
          <a:ext cx="189394" cy="11926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92697"/>
              </a:lnTo>
              <a:lnTo>
                <a:pt x="189394" y="1192697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345018-6611-8846-9867-5983103CD6E5}">
      <dsp:nvSpPr>
        <dsp:cNvPr id="0" name=""/>
        <dsp:cNvSpPr/>
      </dsp:nvSpPr>
      <dsp:spPr>
        <a:xfrm>
          <a:off x="4655864" y="1871282"/>
          <a:ext cx="199914" cy="49996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9963"/>
              </a:lnTo>
              <a:lnTo>
                <a:pt x="199914" y="499963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ED84F99-A90A-4745-B2A2-0BC725F06BA7}">
      <dsp:nvSpPr>
        <dsp:cNvPr id="0" name=""/>
        <dsp:cNvSpPr/>
      </dsp:nvSpPr>
      <dsp:spPr>
        <a:xfrm>
          <a:off x="5160916" y="1154491"/>
          <a:ext cx="678381" cy="235022"/>
        </a:xfrm>
        <a:custGeom>
          <a:avLst/>
          <a:gdLst/>
          <a:ahLst/>
          <a:cxnLst/>
          <a:rect l="0" t="0" r="0" b="0"/>
          <a:pathLst>
            <a:path>
              <a:moveTo>
                <a:pt x="678381" y="0"/>
              </a:moveTo>
              <a:lnTo>
                <a:pt x="678381" y="117511"/>
              </a:lnTo>
              <a:lnTo>
                <a:pt x="0" y="117511"/>
              </a:lnTo>
              <a:lnTo>
                <a:pt x="0" y="235022"/>
              </a:lnTo>
            </a:path>
          </a:pathLst>
        </a:custGeom>
        <a:noFill/>
        <a:ln w="127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01705D-BD56-4247-8356-7A2CD0DA8B66}">
      <dsp:nvSpPr>
        <dsp:cNvPr id="0" name=""/>
        <dsp:cNvSpPr/>
      </dsp:nvSpPr>
      <dsp:spPr>
        <a:xfrm>
          <a:off x="3158210" y="1871282"/>
          <a:ext cx="189394" cy="26262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26280"/>
              </a:lnTo>
              <a:lnTo>
                <a:pt x="189394" y="2626280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5899B2-BDDB-43C0-B85D-163CB087ED36}">
      <dsp:nvSpPr>
        <dsp:cNvPr id="0" name=""/>
        <dsp:cNvSpPr/>
      </dsp:nvSpPr>
      <dsp:spPr>
        <a:xfrm>
          <a:off x="3158210" y="1871282"/>
          <a:ext cx="189394" cy="19094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09489"/>
              </a:lnTo>
              <a:lnTo>
                <a:pt x="189394" y="1909489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CCED4D-B2D2-4CD2-9167-8E16C94C73CC}">
      <dsp:nvSpPr>
        <dsp:cNvPr id="0" name=""/>
        <dsp:cNvSpPr/>
      </dsp:nvSpPr>
      <dsp:spPr>
        <a:xfrm>
          <a:off x="3158210" y="1871282"/>
          <a:ext cx="189394" cy="11926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92697"/>
              </a:lnTo>
              <a:lnTo>
                <a:pt x="189394" y="1192697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23F4EF-C207-4E73-A1B1-4D1F15A6EAAC}">
      <dsp:nvSpPr>
        <dsp:cNvPr id="0" name=""/>
        <dsp:cNvSpPr/>
      </dsp:nvSpPr>
      <dsp:spPr>
        <a:xfrm>
          <a:off x="3158210" y="1871282"/>
          <a:ext cx="189394" cy="4759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75906"/>
              </a:lnTo>
              <a:lnTo>
                <a:pt x="189394" y="475906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1E1CCA6-B5CA-448F-A6C9-A9EAD4F0B461}">
      <dsp:nvSpPr>
        <dsp:cNvPr id="0" name=""/>
        <dsp:cNvSpPr/>
      </dsp:nvSpPr>
      <dsp:spPr>
        <a:xfrm>
          <a:off x="3663263" y="1154491"/>
          <a:ext cx="2176035" cy="235022"/>
        </a:xfrm>
        <a:custGeom>
          <a:avLst/>
          <a:gdLst/>
          <a:ahLst/>
          <a:cxnLst/>
          <a:rect l="0" t="0" r="0" b="0"/>
          <a:pathLst>
            <a:path>
              <a:moveTo>
                <a:pt x="2176035" y="0"/>
              </a:moveTo>
              <a:lnTo>
                <a:pt x="2176035" y="117511"/>
              </a:lnTo>
              <a:lnTo>
                <a:pt x="0" y="117511"/>
              </a:lnTo>
              <a:lnTo>
                <a:pt x="0" y="235022"/>
              </a:lnTo>
            </a:path>
          </a:pathLst>
        </a:custGeom>
        <a:noFill/>
        <a:ln w="127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BE3F9E-9DAE-4B83-94B4-7BE53E323221}">
      <dsp:nvSpPr>
        <dsp:cNvPr id="0" name=""/>
        <dsp:cNvSpPr/>
      </dsp:nvSpPr>
      <dsp:spPr>
        <a:xfrm>
          <a:off x="1660556" y="1871282"/>
          <a:ext cx="189394" cy="4759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75906"/>
              </a:lnTo>
              <a:lnTo>
                <a:pt x="189394" y="475906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3717AD0-CFA4-4A9C-B6F3-C991A181E617}">
      <dsp:nvSpPr>
        <dsp:cNvPr id="0" name=""/>
        <dsp:cNvSpPr/>
      </dsp:nvSpPr>
      <dsp:spPr>
        <a:xfrm>
          <a:off x="2165609" y="1154491"/>
          <a:ext cx="3673689" cy="235022"/>
        </a:xfrm>
        <a:custGeom>
          <a:avLst/>
          <a:gdLst/>
          <a:ahLst/>
          <a:cxnLst/>
          <a:rect l="0" t="0" r="0" b="0"/>
          <a:pathLst>
            <a:path>
              <a:moveTo>
                <a:pt x="3673689" y="0"/>
              </a:moveTo>
              <a:lnTo>
                <a:pt x="3673689" y="117511"/>
              </a:lnTo>
              <a:lnTo>
                <a:pt x="0" y="117511"/>
              </a:lnTo>
              <a:lnTo>
                <a:pt x="0" y="235022"/>
              </a:lnTo>
            </a:path>
          </a:pathLst>
        </a:custGeom>
        <a:noFill/>
        <a:ln w="127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847E0E-2986-1E4B-8133-FC884DE5E8F7}">
      <dsp:nvSpPr>
        <dsp:cNvPr id="0" name=""/>
        <dsp:cNvSpPr/>
      </dsp:nvSpPr>
      <dsp:spPr>
        <a:xfrm>
          <a:off x="132947" y="1871282"/>
          <a:ext cx="194387" cy="19094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09489"/>
              </a:lnTo>
              <a:lnTo>
                <a:pt x="194387" y="1909489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F2470BB-38A2-4E41-B2DA-B48A75BA7AB1}">
      <dsp:nvSpPr>
        <dsp:cNvPr id="0" name=""/>
        <dsp:cNvSpPr/>
      </dsp:nvSpPr>
      <dsp:spPr>
        <a:xfrm>
          <a:off x="132947" y="1871282"/>
          <a:ext cx="194387" cy="11926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92697"/>
              </a:lnTo>
              <a:lnTo>
                <a:pt x="194387" y="1192697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3E71C10-D2B7-6B4F-B601-C44B059DC618}">
      <dsp:nvSpPr>
        <dsp:cNvPr id="0" name=""/>
        <dsp:cNvSpPr/>
      </dsp:nvSpPr>
      <dsp:spPr>
        <a:xfrm>
          <a:off x="132947" y="1871282"/>
          <a:ext cx="194387" cy="4759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75906"/>
              </a:lnTo>
              <a:lnTo>
                <a:pt x="194387" y="475906"/>
              </a:lnTo>
            </a:path>
          </a:pathLst>
        </a:custGeom>
        <a:noFill/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B24AE9-B0ED-AF41-964D-187831FBE1D1}">
      <dsp:nvSpPr>
        <dsp:cNvPr id="0" name=""/>
        <dsp:cNvSpPr/>
      </dsp:nvSpPr>
      <dsp:spPr>
        <a:xfrm>
          <a:off x="651313" y="1154491"/>
          <a:ext cx="5187985" cy="235022"/>
        </a:xfrm>
        <a:custGeom>
          <a:avLst/>
          <a:gdLst/>
          <a:ahLst/>
          <a:cxnLst/>
          <a:rect l="0" t="0" r="0" b="0"/>
          <a:pathLst>
            <a:path>
              <a:moveTo>
                <a:pt x="5187985" y="0"/>
              </a:moveTo>
              <a:lnTo>
                <a:pt x="5187985" y="117511"/>
              </a:lnTo>
              <a:lnTo>
                <a:pt x="0" y="117511"/>
              </a:lnTo>
              <a:lnTo>
                <a:pt x="0" y="235022"/>
              </a:lnTo>
            </a:path>
          </a:pathLst>
        </a:custGeom>
        <a:noFill/>
        <a:ln w="127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B86689-67B1-574A-A7F5-633E5DBDC03E}">
      <dsp:nvSpPr>
        <dsp:cNvPr id="0" name=""/>
        <dsp:cNvSpPr/>
      </dsp:nvSpPr>
      <dsp:spPr>
        <a:xfrm>
          <a:off x="4856506" y="244371"/>
          <a:ext cx="1965583" cy="91011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OVT </a:t>
          </a:r>
        </a:p>
      </dsp:txBody>
      <dsp:txXfrm>
        <a:off x="4856506" y="244371"/>
        <a:ext cx="1965583" cy="910119"/>
      </dsp:txXfrm>
    </dsp:sp>
    <dsp:sp modelId="{5342E13A-1C38-4C43-B821-A2B5C67007EF}">
      <dsp:nvSpPr>
        <dsp:cNvPr id="0" name=""/>
        <dsp:cNvSpPr/>
      </dsp:nvSpPr>
      <dsp:spPr>
        <a:xfrm>
          <a:off x="3356" y="1389513"/>
          <a:ext cx="1295914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1.Datenbankverbindung</a:t>
          </a:r>
        </a:p>
      </dsp:txBody>
      <dsp:txXfrm>
        <a:off x="3356" y="1389513"/>
        <a:ext cx="1295914" cy="481768"/>
      </dsp:txXfrm>
    </dsp:sp>
    <dsp:sp modelId="{B79AF090-C5A3-BD4C-A06F-6B78FA0ACF21}">
      <dsp:nvSpPr>
        <dsp:cNvPr id="0" name=""/>
        <dsp:cNvSpPr/>
      </dsp:nvSpPr>
      <dsp:spPr>
        <a:xfrm>
          <a:off x="327334" y="2106304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1.1.Implemetierung psycopg2</a:t>
          </a:r>
        </a:p>
      </dsp:txBody>
      <dsp:txXfrm>
        <a:off x="327334" y="2106304"/>
        <a:ext cx="1262631" cy="481768"/>
      </dsp:txXfrm>
    </dsp:sp>
    <dsp:sp modelId="{F5BC6C0D-5DDE-CB4A-97EF-013B18F41473}">
      <dsp:nvSpPr>
        <dsp:cNvPr id="0" name=""/>
        <dsp:cNvSpPr/>
      </dsp:nvSpPr>
      <dsp:spPr>
        <a:xfrm>
          <a:off x="327334" y="2823095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1.2.Projekteinstellungen konfigurieren</a:t>
          </a:r>
        </a:p>
      </dsp:txBody>
      <dsp:txXfrm>
        <a:off x="327334" y="2823095"/>
        <a:ext cx="1262631" cy="481768"/>
      </dsp:txXfrm>
    </dsp:sp>
    <dsp:sp modelId="{A0C3BD47-02F9-0546-8C6D-8DC994FE1E7C}">
      <dsp:nvSpPr>
        <dsp:cNvPr id="0" name=""/>
        <dsp:cNvSpPr/>
      </dsp:nvSpPr>
      <dsp:spPr>
        <a:xfrm>
          <a:off x="327334" y="3539887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1.3.Tabellen modellieren</a:t>
          </a:r>
        </a:p>
      </dsp:txBody>
      <dsp:txXfrm>
        <a:off x="327334" y="3539887"/>
        <a:ext cx="1262631" cy="481768"/>
      </dsp:txXfrm>
    </dsp:sp>
    <dsp:sp modelId="{C0D5FE1F-69BE-450F-80A0-D50FB8D9BD69}">
      <dsp:nvSpPr>
        <dsp:cNvPr id="0" name=""/>
        <dsp:cNvSpPr/>
      </dsp:nvSpPr>
      <dsp:spPr>
        <a:xfrm>
          <a:off x="1534293" y="1389513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2.Parkausweistemplate</a:t>
          </a:r>
        </a:p>
      </dsp:txBody>
      <dsp:txXfrm>
        <a:off x="1534293" y="1389513"/>
        <a:ext cx="1262631" cy="481768"/>
      </dsp:txXfrm>
    </dsp:sp>
    <dsp:sp modelId="{C16E0121-24C4-46D5-B4B2-EFA3ADF6F337}">
      <dsp:nvSpPr>
        <dsp:cNvPr id="0" name=""/>
        <dsp:cNvSpPr/>
      </dsp:nvSpPr>
      <dsp:spPr>
        <a:xfrm>
          <a:off x="1849951" y="2106304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2.1.Konzeptionierung des Designs</a:t>
          </a:r>
        </a:p>
      </dsp:txBody>
      <dsp:txXfrm>
        <a:off x="1849951" y="2106304"/>
        <a:ext cx="1262631" cy="481768"/>
      </dsp:txXfrm>
    </dsp:sp>
    <dsp:sp modelId="{35A8897A-21AC-43D9-92AD-BD3B05691203}">
      <dsp:nvSpPr>
        <dsp:cNvPr id="0" name=""/>
        <dsp:cNvSpPr/>
      </dsp:nvSpPr>
      <dsp:spPr>
        <a:xfrm>
          <a:off x="3031947" y="1389513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3.Oberfläche</a:t>
          </a:r>
        </a:p>
      </dsp:txBody>
      <dsp:txXfrm>
        <a:off x="3031947" y="1389513"/>
        <a:ext cx="1262631" cy="481768"/>
      </dsp:txXfrm>
    </dsp:sp>
    <dsp:sp modelId="{B94C8036-0D61-4367-9828-1E9AD21C1536}">
      <dsp:nvSpPr>
        <dsp:cNvPr id="0" name=""/>
        <dsp:cNvSpPr/>
      </dsp:nvSpPr>
      <dsp:spPr>
        <a:xfrm>
          <a:off x="3347605" y="2106304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3.1.Loginmaske</a:t>
          </a:r>
        </a:p>
      </dsp:txBody>
      <dsp:txXfrm>
        <a:off x="3347605" y="2106304"/>
        <a:ext cx="1262631" cy="481768"/>
      </dsp:txXfrm>
    </dsp:sp>
    <dsp:sp modelId="{17B538A6-E22C-4824-BE17-42D2E5E46C6F}">
      <dsp:nvSpPr>
        <dsp:cNvPr id="0" name=""/>
        <dsp:cNvSpPr/>
      </dsp:nvSpPr>
      <dsp:spPr>
        <a:xfrm>
          <a:off x="3347605" y="2823095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3.2.Passwort vergessen-Seite </a:t>
          </a:r>
        </a:p>
      </dsp:txBody>
      <dsp:txXfrm>
        <a:off x="3347605" y="2823095"/>
        <a:ext cx="1262631" cy="481768"/>
      </dsp:txXfrm>
    </dsp:sp>
    <dsp:sp modelId="{7D66E290-AAD3-4971-898A-EB5E0B793119}">
      <dsp:nvSpPr>
        <dsp:cNvPr id="0" name=""/>
        <dsp:cNvSpPr/>
      </dsp:nvSpPr>
      <dsp:spPr>
        <a:xfrm>
          <a:off x="3347605" y="3539887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3.3.Overview mit Schülerdaten</a:t>
          </a:r>
        </a:p>
      </dsp:txBody>
      <dsp:txXfrm>
        <a:off x="3347605" y="3539887"/>
        <a:ext cx="1262631" cy="481768"/>
      </dsp:txXfrm>
    </dsp:sp>
    <dsp:sp modelId="{761A833A-0A23-4FE7-9495-94C2F79FDE43}">
      <dsp:nvSpPr>
        <dsp:cNvPr id="0" name=""/>
        <dsp:cNvSpPr/>
      </dsp:nvSpPr>
      <dsp:spPr>
        <a:xfrm>
          <a:off x="3347605" y="4256678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3.4.Popup für Bearbeitung der Daten</a:t>
          </a:r>
        </a:p>
      </dsp:txBody>
      <dsp:txXfrm>
        <a:off x="3347605" y="4256678"/>
        <a:ext cx="1262631" cy="481768"/>
      </dsp:txXfrm>
    </dsp:sp>
    <dsp:sp modelId="{709FA4AA-76C5-9F4E-9678-5F82DEF7441A}">
      <dsp:nvSpPr>
        <dsp:cNvPr id="0" name=""/>
        <dsp:cNvSpPr/>
      </dsp:nvSpPr>
      <dsp:spPr>
        <a:xfrm>
          <a:off x="4529601" y="1389513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4.Funktionen</a:t>
          </a:r>
        </a:p>
      </dsp:txBody>
      <dsp:txXfrm>
        <a:off x="4529601" y="1389513"/>
        <a:ext cx="1262631" cy="481768"/>
      </dsp:txXfrm>
    </dsp:sp>
    <dsp:sp modelId="{37B3547D-1F2B-FB46-BA1A-EC8C7CF644B3}">
      <dsp:nvSpPr>
        <dsp:cNvPr id="0" name=""/>
        <dsp:cNvSpPr/>
      </dsp:nvSpPr>
      <dsp:spPr>
        <a:xfrm>
          <a:off x="4855779" y="2130361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4.1.Bearbeiten</a:t>
          </a:r>
        </a:p>
      </dsp:txBody>
      <dsp:txXfrm>
        <a:off x="4855779" y="2130361"/>
        <a:ext cx="1262631" cy="481768"/>
      </dsp:txXfrm>
    </dsp:sp>
    <dsp:sp modelId="{F1501F1A-265F-45FC-A7D4-3FA97C14F3ED}">
      <dsp:nvSpPr>
        <dsp:cNvPr id="0" name=""/>
        <dsp:cNvSpPr/>
      </dsp:nvSpPr>
      <dsp:spPr>
        <a:xfrm>
          <a:off x="4845259" y="2823095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4.2.Log Out</a:t>
          </a:r>
        </a:p>
      </dsp:txBody>
      <dsp:txXfrm>
        <a:off x="4845259" y="2823095"/>
        <a:ext cx="1262631" cy="481768"/>
      </dsp:txXfrm>
    </dsp:sp>
    <dsp:sp modelId="{847EE679-A63B-473F-A5CF-801AACAF3C63}">
      <dsp:nvSpPr>
        <dsp:cNvPr id="0" name=""/>
        <dsp:cNvSpPr/>
      </dsp:nvSpPr>
      <dsp:spPr>
        <a:xfrm>
          <a:off x="4845259" y="3539887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4.3.Passwort vergessen</a:t>
          </a:r>
        </a:p>
      </dsp:txBody>
      <dsp:txXfrm>
        <a:off x="4845259" y="3539887"/>
        <a:ext cx="1262631" cy="481768"/>
      </dsp:txXfrm>
    </dsp:sp>
    <dsp:sp modelId="{4FB3BCAE-E59B-4871-8138-C04932D1D4C5}">
      <dsp:nvSpPr>
        <dsp:cNvPr id="0" name=""/>
        <dsp:cNvSpPr/>
      </dsp:nvSpPr>
      <dsp:spPr>
        <a:xfrm>
          <a:off x="4845259" y="4256678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4.4.Neu erstellen</a:t>
          </a:r>
        </a:p>
      </dsp:txBody>
      <dsp:txXfrm>
        <a:off x="4845259" y="4256678"/>
        <a:ext cx="1262631" cy="481768"/>
      </dsp:txXfrm>
    </dsp:sp>
    <dsp:sp modelId="{8EBDBB26-FA1A-4866-976D-123A98FA6F1B}">
      <dsp:nvSpPr>
        <dsp:cNvPr id="0" name=""/>
        <dsp:cNvSpPr/>
      </dsp:nvSpPr>
      <dsp:spPr>
        <a:xfrm>
          <a:off x="4845259" y="4973469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4.5.Löschen</a:t>
          </a:r>
        </a:p>
      </dsp:txBody>
      <dsp:txXfrm>
        <a:off x="4845259" y="4973469"/>
        <a:ext cx="1262631" cy="481768"/>
      </dsp:txXfrm>
    </dsp:sp>
    <dsp:sp modelId="{BB54FDA3-6EA0-034B-92B7-BA1782717CA2}">
      <dsp:nvSpPr>
        <dsp:cNvPr id="0" name=""/>
        <dsp:cNvSpPr/>
      </dsp:nvSpPr>
      <dsp:spPr>
        <a:xfrm>
          <a:off x="7091739" y="1389513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5.Druckfunktion</a:t>
          </a:r>
        </a:p>
      </dsp:txBody>
      <dsp:txXfrm>
        <a:off x="7091739" y="1389513"/>
        <a:ext cx="1262631" cy="481768"/>
      </dsp:txXfrm>
    </dsp:sp>
    <dsp:sp modelId="{C9A4B63C-78DC-064B-A0BF-F853548DD702}">
      <dsp:nvSpPr>
        <dsp:cNvPr id="0" name=""/>
        <dsp:cNvSpPr/>
      </dsp:nvSpPr>
      <dsp:spPr>
        <a:xfrm>
          <a:off x="6342912" y="2106304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5.1.Parkausweisgenerierung</a:t>
          </a:r>
        </a:p>
      </dsp:txBody>
      <dsp:txXfrm>
        <a:off x="6342912" y="2106304"/>
        <a:ext cx="1262631" cy="481768"/>
      </dsp:txXfrm>
    </dsp:sp>
    <dsp:sp modelId="{37A94B54-FB13-EA48-8805-A79F9C7E41FC}">
      <dsp:nvSpPr>
        <dsp:cNvPr id="0" name=""/>
        <dsp:cNvSpPr/>
      </dsp:nvSpPr>
      <dsp:spPr>
        <a:xfrm>
          <a:off x="6342912" y="2823095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5.1.1.QR-Code-Generierung</a:t>
          </a:r>
        </a:p>
      </dsp:txBody>
      <dsp:txXfrm>
        <a:off x="6342912" y="2823095"/>
        <a:ext cx="1262631" cy="481768"/>
      </dsp:txXfrm>
    </dsp:sp>
    <dsp:sp modelId="{4236286C-0F31-4387-92B8-400AE9536D02}">
      <dsp:nvSpPr>
        <dsp:cNvPr id="0" name=""/>
        <dsp:cNvSpPr/>
      </dsp:nvSpPr>
      <dsp:spPr>
        <a:xfrm>
          <a:off x="6658570" y="3539887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5.1.1.1.QR-Code-Logik festlegen</a:t>
          </a:r>
        </a:p>
      </dsp:txBody>
      <dsp:txXfrm>
        <a:off x="6658570" y="3539887"/>
        <a:ext cx="1262631" cy="481768"/>
      </dsp:txXfrm>
    </dsp:sp>
    <dsp:sp modelId="{109115EA-6F54-6F4D-B00B-C989DD25E1BD}">
      <dsp:nvSpPr>
        <dsp:cNvPr id="0" name=""/>
        <dsp:cNvSpPr/>
      </dsp:nvSpPr>
      <dsp:spPr>
        <a:xfrm>
          <a:off x="7840566" y="2106304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5.4.Anbindung an den Drucker</a:t>
          </a:r>
        </a:p>
      </dsp:txBody>
      <dsp:txXfrm>
        <a:off x="7840566" y="2106304"/>
        <a:ext cx="1262631" cy="481768"/>
      </dsp:txXfrm>
    </dsp:sp>
    <dsp:sp modelId="{D1A900A5-F870-364E-9A7F-275EFC9F6FF9}">
      <dsp:nvSpPr>
        <dsp:cNvPr id="0" name=""/>
        <dsp:cNvSpPr/>
      </dsp:nvSpPr>
      <dsp:spPr>
        <a:xfrm>
          <a:off x="9019183" y="1388221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6.Rollen/Rechte</a:t>
          </a:r>
        </a:p>
      </dsp:txBody>
      <dsp:txXfrm>
        <a:off x="9019183" y="1388221"/>
        <a:ext cx="1262631" cy="481768"/>
      </dsp:txXfrm>
    </dsp:sp>
    <dsp:sp modelId="{15CA64E1-20D0-4C19-BE71-896EF9150A3D}">
      <dsp:nvSpPr>
        <dsp:cNvPr id="0" name=""/>
        <dsp:cNvSpPr/>
      </dsp:nvSpPr>
      <dsp:spPr>
        <a:xfrm>
          <a:off x="9338220" y="2106304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6.1.Login-Prozess</a:t>
          </a:r>
        </a:p>
      </dsp:txBody>
      <dsp:txXfrm>
        <a:off x="9338220" y="2106304"/>
        <a:ext cx="1262631" cy="481768"/>
      </dsp:txXfrm>
    </dsp:sp>
    <dsp:sp modelId="{FF2A6CD8-6544-4FF1-BE9F-0DB1B8A00FA5}">
      <dsp:nvSpPr>
        <dsp:cNvPr id="0" name=""/>
        <dsp:cNvSpPr/>
      </dsp:nvSpPr>
      <dsp:spPr>
        <a:xfrm>
          <a:off x="9341488" y="2735421"/>
          <a:ext cx="1262631" cy="4817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6.2.Klassenansicht</a:t>
          </a:r>
        </a:p>
      </dsp:txBody>
      <dsp:txXfrm>
        <a:off x="9341488" y="2735421"/>
        <a:ext cx="1262631" cy="481768"/>
      </dsp:txXfrm>
    </dsp:sp>
    <dsp:sp modelId="{C591DDF2-2203-4143-8E9B-869304224D53}">
      <dsp:nvSpPr>
        <dsp:cNvPr id="0" name=""/>
        <dsp:cNvSpPr/>
      </dsp:nvSpPr>
      <dsp:spPr>
        <a:xfrm>
          <a:off x="10559924" y="1379027"/>
          <a:ext cx="1119155" cy="55957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7</a:t>
          </a:r>
          <a:r>
            <a:rPr lang="de-DE" sz="1200" b="1" kern="1200" dirty="0"/>
            <a:t>.</a:t>
          </a:r>
          <a:r>
            <a:rPr lang="de-DE" sz="1050" b="1" kern="1200" dirty="0"/>
            <a:t>Dokumentation</a:t>
          </a:r>
        </a:p>
      </dsp:txBody>
      <dsp:txXfrm>
        <a:off x="10559924" y="1379027"/>
        <a:ext cx="1119155" cy="559577"/>
      </dsp:txXfrm>
    </dsp:sp>
    <dsp:sp modelId="{FB060CDE-5DD0-412F-97CC-7539C6064715}">
      <dsp:nvSpPr>
        <dsp:cNvPr id="0" name=""/>
        <dsp:cNvSpPr/>
      </dsp:nvSpPr>
      <dsp:spPr>
        <a:xfrm>
          <a:off x="10839142" y="2096439"/>
          <a:ext cx="1119155" cy="55957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7.1.Testingphase</a:t>
          </a:r>
        </a:p>
      </dsp:txBody>
      <dsp:txXfrm>
        <a:off x="10839142" y="2096439"/>
        <a:ext cx="1119155" cy="559577"/>
      </dsp:txXfrm>
    </dsp:sp>
    <dsp:sp modelId="{C12DCAA8-FCE8-4773-AE44-90A3AE99214A}">
      <dsp:nvSpPr>
        <dsp:cNvPr id="0" name=""/>
        <dsp:cNvSpPr/>
      </dsp:nvSpPr>
      <dsp:spPr>
        <a:xfrm>
          <a:off x="10839142" y="2891039"/>
          <a:ext cx="1119155" cy="55957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50" b="1" kern="1200" dirty="0"/>
            <a:t>7.2.Kundendokumentation</a:t>
          </a:r>
        </a:p>
      </dsp:txBody>
      <dsp:txXfrm>
        <a:off x="10839142" y="2891039"/>
        <a:ext cx="1119155" cy="55957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F0410D91-006C-5438-3954-F00C6F6762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26BB80C-00F1-A67B-B5C8-D257528CEAD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de-DE"/>
              <a:t>12.02.2023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D0D383A-2F05-C95C-75D6-F9C930ACBB1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13.02.2023 | ITP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F85D806-4E05-B23A-B279-F3F57A00788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AF2A06-17DD-4C99-8CDC-F82EFD0FA1E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804870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de-DE"/>
              <a:t>12.02.2023</a:t>
            </a:r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13.02.2023 | ITP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85F055-A78B-4D3F-8BDC-1E23BB4AD9C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715909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1F30625-E8DB-65DA-807E-81EB77EF89F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13.02.2023 | ITP</a:t>
            </a:r>
          </a:p>
        </p:txBody>
      </p:sp>
    </p:spTree>
    <p:extLst>
      <p:ext uri="{BB962C8B-B14F-4D97-AF65-F5344CB8AC3E}">
        <p14:creationId xmlns:p14="http://schemas.microsoft.com/office/powerpoint/2010/main" val="40920946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image" Target="../media/image1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104CCF-545C-1D1B-712C-15543498C9F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53F6B9B-2EF2-3B5D-E6E5-74081C6568D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5452541-67A0-1A07-4D30-E8A11BCB18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9CE2-AC2C-406B-9A07-489E604645EB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6ACB6DC-0E2A-5092-23D4-FB068690BF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C91DBB-734F-CE2F-C36E-B4453EFC37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97690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AC649-1F1E-FC5C-C7E0-CC3896070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02CDF0A-D130-821D-770E-21233E23D7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EA0B76F-0B35-FDA6-87D1-B1B02DB5BC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444B4-6EDF-4FD9-AC1A-60A654E974DD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D8BD64-D0FE-32E0-E73E-0E454799F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0BD75EB-01E2-4C3C-5F4D-AE69CC2B5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31043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180B7DB9-A8A1-FF37-0BB0-230B618070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9A86C7D3-B2B4-E898-FF1F-FA646E9283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A467A47-9068-81BC-B65B-89F82BFD01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212E45-0E72-4BFE-B1EE-8ED9EDBFF7BD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36E4A48-421E-7065-B716-CEAA24BEE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970950C-034B-FD47-734F-98981760E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37055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583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1"/>
            <a:ext cx="1672306" cy="5724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88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537701" y="5887330"/>
            <a:ext cx="2654300" cy="419099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748" dirty="0">
                <a:solidFill>
                  <a:schemeClr val="bg1"/>
                </a:solidFill>
              </a:defRPr>
            </a:lvl1pPr>
          </a:lstStyle>
          <a:p>
            <a:pPr marL="0" lvl="0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70207"/>
            <a:ext cx="12192000" cy="1344285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3884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6"/>
            <a:ext cx="12192000" cy="445405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1942" b="0" cap="all" baseline="0">
                <a:solidFill>
                  <a:schemeClr val="bg1"/>
                </a:solidFill>
                <a:latin typeface="+mj-lt"/>
              </a:defRPr>
            </a:lvl1pPr>
            <a:lvl2pPr marL="443987" indent="0" algn="ctr">
              <a:buNone/>
              <a:defRPr sz="1942"/>
            </a:lvl2pPr>
            <a:lvl3pPr marL="887974" indent="0" algn="ctr">
              <a:buNone/>
              <a:defRPr sz="1748"/>
            </a:lvl3pPr>
            <a:lvl4pPr marL="1331961" indent="0" algn="ctr">
              <a:buNone/>
              <a:defRPr sz="1554"/>
            </a:lvl4pPr>
            <a:lvl5pPr marL="1775948" indent="0" algn="ctr">
              <a:buNone/>
              <a:defRPr sz="1554"/>
            </a:lvl5pPr>
            <a:lvl6pPr marL="2219935" indent="0" algn="ctr">
              <a:buNone/>
              <a:defRPr sz="1554"/>
            </a:lvl6pPr>
            <a:lvl7pPr marL="2663922" indent="0" algn="ctr">
              <a:buNone/>
              <a:defRPr sz="1554"/>
            </a:lvl7pPr>
            <a:lvl8pPr marL="3107908" indent="0" algn="ctr">
              <a:buNone/>
              <a:defRPr sz="1554"/>
            </a:lvl8pPr>
            <a:lvl9pPr marL="3551895" indent="0" algn="ctr">
              <a:buNone/>
              <a:defRPr sz="1554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400"/>
            <a:ext cx="10999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88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90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sz="1748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249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>
          <p15:clr>
            <a:srgbClr val="FBAE40"/>
          </p15:clr>
        </p15:guide>
        <p15:guide id="2" pos="73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6">
            <a:extLst>
              <a:ext uri="{FF2B5EF4-FFF2-40B4-BE49-F238E27FC236}">
                <a16:creationId xmlns:a16="http://schemas.microsoft.com/office/drawing/2014/main" id="{A090A392-5D86-46CB-AB83-2F4680F4A48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8369" y="1440611"/>
            <a:ext cx="11235262" cy="4868116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38956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6B7B026-5292-4386-A783-313A3F9751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8369" y="1440611"/>
            <a:ext cx="11235262" cy="4868116"/>
          </a:xfrm>
          <a:noFill/>
        </p:spPr>
        <p:txBody>
          <a:bodyPr lIns="360000" tIns="306000" rIns="180000" bIns="144000"/>
          <a:lstStyle>
            <a:lvl1pPr marL="522610" indent="-522610">
              <a:spcAft>
                <a:spcPts val="583"/>
              </a:spcAft>
              <a:buClr>
                <a:schemeClr val="bg1"/>
              </a:buClr>
              <a:buFont typeface="+mj-lt"/>
              <a:buAutoNum type="arabicPeriod"/>
              <a:defRPr sz="2331" spc="10" baseline="0">
                <a:solidFill>
                  <a:schemeClr val="bg1"/>
                </a:solidFill>
                <a:latin typeface="+mj-lt"/>
              </a:defRPr>
            </a:lvl1pPr>
            <a:lvl2pPr marL="966596" indent="-443987">
              <a:spcAft>
                <a:spcPts val="583"/>
              </a:spcAft>
              <a:buClr>
                <a:schemeClr val="bg1"/>
              </a:buClr>
              <a:buFont typeface="+mj-lt"/>
              <a:buAutoNum type="arabicPeriod"/>
              <a:defRPr sz="2331" spc="10" baseline="0">
                <a:solidFill>
                  <a:schemeClr val="bg1"/>
                </a:solidFill>
                <a:latin typeface="+mj-lt"/>
              </a:defRPr>
            </a:lvl2pPr>
            <a:lvl3pPr marL="1566287" indent="-521068">
              <a:spcAft>
                <a:spcPts val="583"/>
              </a:spcAft>
              <a:buClr>
                <a:schemeClr val="bg1"/>
              </a:buClr>
              <a:buFont typeface="+mj-lt"/>
              <a:buAutoNum type="arabicPeriod"/>
              <a:defRPr sz="2331" spc="10" baseline="0">
                <a:solidFill>
                  <a:schemeClr val="bg1"/>
                </a:solidFill>
                <a:latin typeface="+mj-lt"/>
              </a:defRPr>
            </a:lvl3pPr>
            <a:lvl4pPr marL="2088897" indent="-522610">
              <a:spcAft>
                <a:spcPts val="583"/>
              </a:spcAft>
              <a:buClr>
                <a:schemeClr val="bg1"/>
              </a:buClr>
              <a:buFont typeface="+mj-lt"/>
              <a:buAutoNum type="arabicPeriod"/>
              <a:defRPr sz="2331" spc="10" baseline="0">
                <a:solidFill>
                  <a:schemeClr val="bg1"/>
                </a:solidFill>
                <a:latin typeface="+mj-lt"/>
              </a:defRPr>
            </a:lvl4pPr>
            <a:lvl5pPr marL="2611506" indent="-522610">
              <a:spcAft>
                <a:spcPts val="583"/>
              </a:spcAft>
              <a:buClr>
                <a:schemeClr val="bg1"/>
              </a:buClr>
              <a:buFont typeface="+mj-lt"/>
              <a:buAutoNum type="arabicPeriod"/>
              <a:defRPr sz="2331" spc="10" baseline="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21834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93878A-DC29-BF96-0B63-0DAC6BFBB7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CB35DAD-6E9D-114D-6EA6-D3E0FE3A4F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85EE439-0ECD-2444-6E7F-47612C59A8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3AEE4-3D80-42BD-8877-748ED1E8A4EF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6427FF-536E-6D96-E1CF-418113567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7094F07-7000-450B-BD6D-AC2442D46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10060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E45B2E-AFA7-0385-A830-D9C16323C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818001B-B09B-160E-F35F-D9180A8B8D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F10F3A2-227D-F283-F5C6-051F5B80AB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8F898-44ED-4A41-9936-5C9CC8137BB2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C8F52-EB15-FAF8-2661-B1417B7CA1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98E657F-B8FE-6114-0203-B72E07D3EA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95994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ADA1E6-3230-785E-B0BC-44C130718C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A37A51-F6E8-476F-E285-65A50573AE6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8B55BC7-0869-8FAF-C19C-0989F92340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55ED43E-B3DF-2921-2CDB-F77B4EA1E4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257055-1795-44EB-AA51-01045DAC00C3}" type="datetime1">
              <a:rPr lang="de-DE" smtClean="0"/>
              <a:t>14.02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84D21BC-0A35-ED85-CB2C-562E598D8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D56D15D-4F6C-052A-FF29-F7D698E45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65969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2479AE-C505-ED0D-F39C-B8ECBB21E9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A7ABD09-A44C-92AA-F878-F3D65B80E8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84D1A0D-53F3-0C1D-34CA-E3EEE33CBF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70DD3F5-E8B1-4270-046B-12E138B975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5451993-1300-A019-FC20-7671745B63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13B4629-D7D0-A2F3-68E1-986257960F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A343B6-3AD4-493D-9DE5-3AA1289C3790}" type="datetime1">
              <a:rPr lang="de-DE" smtClean="0"/>
              <a:t>14.02.20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552B58B-19D3-24C6-773D-97CEF3B32A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A57BEB5-EB81-1CBE-7B2A-C0E2F2A80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42143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8EE5A2-2B44-E0F2-8CE2-911047AE1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1225256-364B-9880-CC3F-EA40D87337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2A7BC-8252-477E-85BD-51BA9B7EFA1B}" type="datetime1">
              <a:rPr lang="de-DE" smtClean="0"/>
              <a:t>14.02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FF8F21-9D04-BB72-AA00-7760ACF50B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BF7F41-384F-B1BC-6431-5C762BB19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76005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9BEDF83-5AAA-F95E-38A2-3A2E04D310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8706A9-C2DD-449A-9AFC-844AFE687662}" type="datetime1">
              <a:rPr lang="de-DE" smtClean="0"/>
              <a:t>14.02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69C85D-E66C-4A2F-99BD-7255F2495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E72940B-A1AA-2C8A-EA50-3F748EF15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99513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B58FA2-61C0-56E8-050D-75CE62CF0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B1808BB-D6A2-1ACB-CCBC-92CC57BA59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6DB36C8-DAA7-E429-6800-9FB9C5DCC9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8573E3C-3333-2010-FF64-F6F83E4A05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8336B9-B216-435B-A5D6-8ACDCFFEB3DE}" type="datetime1">
              <a:rPr lang="de-DE" smtClean="0"/>
              <a:t>14.02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A25EB70-E21E-5EBE-63DD-9AD94355F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41DA24A-47E7-B955-0EF5-0C643485B5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60378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2892F4-9971-569F-FD34-08F066FC2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4520A0A-3D5D-920F-156D-9208FA748CE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E7F9A05-FADA-38B8-2CC7-3116AE7E45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F649F9C-5806-4546-E569-7745B510C8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0C7840-90F4-45E0-A7BA-1FE0EF1D0B9B}" type="datetime1">
              <a:rPr lang="de-DE" smtClean="0"/>
              <a:t>14.02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DFFD6A2-20A2-2F80-70D3-28C644A836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11762C6-D078-0E23-1827-DCABD7EDE4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34670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47C7812-96B4-817C-9713-FCED4F2CDF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C7DA6FF-6F1D-20E9-6DDC-6AE1EF65BA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260340E-BF72-A1C2-20CD-1862041B9F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90E0D0-44C0-43E8-BB25-4B4544CDC7F8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3E5BB9-14E5-2CC8-C371-01B15ACF30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34F0927-68D1-C754-1BD9-921A5485A6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E8219E-C001-4D8D-A2D4-F2D6EB50901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5312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1D89F924-F5AA-45AD-9E13-8EE7A390AED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858000"/>
          </a:xfrm>
        </p:spPr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BBC6DF-6394-40AB-8157-ED241A45C7B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ITP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24C713B-D95B-445C-964D-646E048A957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Meilenstein 2:</a:t>
            </a:r>
            <a:br>
              <a:rPr lang="de-DE" dirty="0"/>
            </a:br>
            <a:r>
              <a:rPr lang="de-DE" dirty="0"/>
              <a:t>Projektstrukturplan, Arbeitspakete &amp; Zeitplan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2AC42769-BA4A-4F3B-AE8A-315416F74C1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6389" y="5256899"/>
            <a:ext cx="11839222" cy="440070"/>
          </a:xfrm>
        </p:spPr>
        <p:txBody>
          <a:bodyPr/>
          <a:lstStyle/>
          <a:p>
            <a:r>
              <a:rPr lang="de-DE" dirty="0"/>
              <a:t>Teilprojekt Onlineverwaltungstool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A73FA72-6115-498C-BA74-6752E8DB4C2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3490" y="436358"/>
            <a:ext cx="1657597" cy="8758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090817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A4350F-04D8-EF68-5546-987C1D6D4C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22811"/>
          </a:xfrm>
        </p:spPr>
        <p:txBody>
          <a:bodyPr/>
          <a:lstStyle/>
          <a:p>
            <a:r>
              <a:rPr lang="de-DE" b="1" dirty="0"/>
              <a:t>2.4 Funktion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3E67034-DBD3-4C0A-4FE7-822871AE6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BC9E3-6ED6-4055-83A4-8AF542D5188A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E3753F-24D7-5D7C-CB34-7763C0257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10</a:t>
            </a:fld>
            <a:endParaRPr lang="de-DE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D90175E9-3DDD-16A7-ED0A-AFAC68B34E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81100"/>
            <a:ext cx="10515600" cy="5175250"/>
          </a:xfrm>
          <a:gradFill>
            <a:gsLst>
              <a:gs pos="25000">
                <a:schemeClr val="tx2">
                  <a:lumMod val="50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5400000" scaled="1"/>
          </a:gradFill>
        </p:spPr>
        <p:txBody>
          <a:bodyPr/>
          <a:lstStyle/>
          <a:p>
            <a:pPr marL="914400" lvl="1" indent="-457200">
              <a:buFont typeface="+mj-lt"/>
              <a:buAutoNum type="arabicPeriod"/>
            </a:pPr>
            <a:r>
              <a:rPr lang="de-DE" sz="2800" b="1" dirty="0">
                <a:solidFill>
                  <a:schemeClr val="bg1"/>
                </a:solidFill>
              </a:rPr>
              <a:t>Bearbeiten-(2 Stunden)</a:t>
            </a:r>
          </a:p>
          <a:p>
            <a:pPr marL="457200" lvl="1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	Bearbeitung von Datensätzen</a:t>
            </a:r>
          </a:p>
          <a:p>
            <a:pPr marL="914400" lvl="1" indent="-457200">
              <a:buAutoNum type="arabicPeriod" startAt="2"/>
            </a:pPr>
            <a:r>
              <a:rPr lang="de-DE" sz="2800" b="1" dirty="0">
                <a:solidFill>
                  <a:schemeClr val="bg1"/>
                </a:solidFill>
              </a:rPr>
              <a:t>Log Out-(2 Stunden)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	</a:t>
            </a:r>
            <a:r>
              <a:rPr lang="de-DE" sz="2800" dirty="0">
                <a:solidFill>
                  <a:schemeClr val="bg1"/>
                </a:solidFill>
              </a:rPr>
              <a:t>Ausloggen mit dem derzeit angemeldeten Account</a:t>
            </a:r>
          </a:p>
          <a:p>
            <a:pPr marL="914400" lvl="1" indent="-457200">
              <a:buAutoNum type="arabicPeriod" startAt="3"/>
            </a:pPr>
            <a:r>
              <a:rPr lang="de-DE" sz="2800" b="1" dirty="0">
                <a:solidFill>
                  <a:schemeClr val="bg1"/>
                </a:solidFill>
              </a:rPr>
              <a:t>Passwort vergessen-(2 Stunden)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	</a:t>
            </a:r>
            <a:r>
              <a:rPr lang="de-DE" sz="2800" dirty="0">
                <a:solidFill>
                  <a:schemeClr val="bg1"/>
                </a:solidFill>
              </a:rPr>
              <a:t>Möglichkeit sich sein Passwort schicken zu lassen</a:t>
            </a:r>
            <a:endParaRPr lang="de-DE" dirty="0"/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4.  Neu erstellen-(1 Stunde)</a:t>
            </a:r>
            <a:endParaRPr lang="de-DE" sz="2800" dirty="0"/>
          </a:p>
          <a:p>
            <a:pPr marL="457200" lvl="1" indent="0">
              <a:buNone/>
            </a:pPr>
            <a:r>
              <a:rPr lang="de-DE" sz="2800" dirty="0"/>
              <a:t>	</a:t>
            </a:r>
            <a:r>
              <a:rPr lang="de-DE" sz="2800" dirty="0">
                <a:solidFill>
                  <a:schemeClr val="bg1"/>
                </a:solidFill>
              </a:rPr>
              <a:t>Erstellen von Datensätzen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5.  Löschen-(2 Stunden)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      </a:t>
            </a:r>
            <a:r>
              <a:rPr lang="de-DE" sz="2800" dirty="0">
                <a:solidFill>
                  <a:schemeClr val="bg1"/>
                </a:solidFill>
              </a:rPr>
              <a:t>Löschung von Datensätzen</a:t>
            </a:r>
          </a:p>
          <a:p>
            <a:pPr marL="457200" lvl="1" indent="0">
              <a:buNone/>
            </a:pPr>
            <a:endParaRPr lang="de-DE" sz="2800" b="1" dirty="0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A382D05-3E47-D7C7-271A-5D7A8BC4CD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8296" y="337577"/>
            <a:ext cx="1657597" cy="8758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604207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A4350F-04D8-EF68-5546-987C1D6D4C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22811"/>
          </a:xfrm>
        </p:spPr>
        <p:txBody>
          <a:bodyPr/>
          <a:lstStyle/>
          <a:p>
            <a:r>
              <a:rPr lang="de-DE" b="1" dirty="0"/>
              <a:t>2.4 Funktion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3E67034-DBD3-4C0A-4FE7-822871AE6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BC9E3-6ED6-4055-83A4-8AF542D5188A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E3753F-24D7-5D7C-CB34-7763C0257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11</a:t>
            </a:fld>
            <a:endParaRPr lang="de-DE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D90175E9-3DDD-16A7-ED0A-AFAC68B34E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81100"/>
            <a:ext cx="10515600" cy="5175250"/>
          </a:xfrm>
          <a:gradFill>
            <a:gsLst>
              <a:gs pos="25000">
                <a:schemeClr val="tx2">
                  <a:lumMod val="50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5400000" scaled="1"/>
          </a:gradFill>
        </p:spPr>
        <p:txBody>
          <a:bodyPr/>
          <a:lstStyle/>
          <a:p>
            <a:pPr marL="914400" lvl="1" indent="-457200">
              <a:buFont typeface="+mj-lt"/>
              <a:buAutoNum type="arabicPeriod"/>
            </a:pPr>
            <a:r>
              <a:rPr lang="de-DE" sz="2800" b="1" dirty="0">
                <a:solidFill>
                  <a:schemeClr val="bg1"/>
                </a:solidFill>
              </a:rPr>
              <a:t>Bearbeiten</a:t>
            </a:r>
          </a:p>
          <a:p>
            <a:pPr marL="457200" lvl="1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	Bearbeitung von Datensätzen</a:t>
            </a:r>
          </a:p>
          <a:p>
            <a:pPr marL="914400" lvl="1" indent="-457200">
              <a:buAutoNum type="arabicPeriod" startAt="2"/>
            </a:pPr>
            <a:r>
              <a:rPr lang="de-DE" sz="2800" b="1" dirty="0">
                <a:solidFill>
                  <a:schemeClr val="bg1"/>
                </a:solidFill>
              </a:rPr>
              <a:t>Log Out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	</a:t>
            </a:r>
            <a:r>
              <a:rPr lang="de-DE" sz="2800" dirty="0">
                <a:solidFill>
                  <a:schemeClr val="bg1"/>
                </a:solidFill>
              </a:rPr>
              <a:t>Ausloggen mit dem derzeit angemeldeten Account</a:t>
            </a:r>
          </a:p>
          <a:p>
            <a:pPr marL="914400" lvl="1" indent="-457200">
              <a:buAutoNum type="arabicPeriod" startAt="3"/>
            </a:pPr>
            <a:r>
              <a:rPr lang="de-DE" sz="2800" b="1" dirty="0">
                <a:solidFill>
                  <a:schemeClr val="bg1"/>
                </a:solidFill>
              </a:rPr>
              <a:t>Passwort vergessen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	</a:t>
            </a:r>
            <a:r>
              <a:rPr lang="de-DE" sz="2800" dirty="0">
                <a:solidFill>
                  <a:schemeClr val="bg1"/>
                </a:solidFill>
              </a:rPr>
              <a:t>Möglichkeit sich sein Passwort schicken zu lassen</a:t>
            </a:r>
            <a:endParaRPr lang="de-DE" dirty="0"/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4.  Neu erstellen</a:t>
            </a:r>
            <a:endParaRPr lang="de-DE" sz="2800" dirty="0"/>
          </a:p>
          <a:p>
            <a:pPr marL="457200" lvl="1" indent="0">
              <a:buNone/>
            </a:pPr>
            <a:r>
              <a:rPr lang="de-DE" sz="2800" dirty="0"/>
              <a:t>	</a:t>
            </a:r>
            <a:r>
              <a:rPr lang="de-DE" sz="2800" dirty="0">
                <a:solidFill>
                  <a:schemeClr val="bg1"/>
                </a:solidFill>
              </a:rPr>
              <a:t>Erstellen von Datensätzen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5.  Löschen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      </a:t>
            </a:r>
            <a:r>
              <a:rPr lang="de-DE" sz="2800" dirty="0">
                <a:solidFill>
                  <a:schemeClr val="bg1"/>
                </a:solidFill>
              </a:rPr>
              <a:t>Löschung von Datensätzen</a:t>
            </a:r>
          </a:p>
          <a:p>
            <a:pPr marL="457200" lvl="1" indent="0">
              <a:buNone/>
            </a:pPr>
            <a:endParaRPr lang="de-DE" sz="2800" b="1" dirty="0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A382D05-3E47-D7C7-271A-5D7A8BC4CD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8296" y="337577"/>
            <a:ext cx="1657597" cy="875848"/>
          </a:xfrm>
          <a:prstGeom prst="rect">
            <a:avLst/>
          </a:prstGeom>
          <a:noFill/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E29C242-6D77-A5A1-C5FC-6E8226ED97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181100"/>
            <a:ext cx="10515600" cy="5175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3139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A4350F-04D8-EF68-5546-987C1D6D4C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22811"/>
          </a:xfrm>
        </p:spPr>
        <p:txBody>
          <a:bodyPr/>
          <a:lstStyle/>
          <a:p>
            <a:r>
              <a:rPr lang="de-DE" b="1" dirty="0"/>
              <a:t>2.5 Druckfunkt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3E67034-DBD3-4C0A-4FE7-822871AE6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BC9E3-6ED6-4055-83A4-8AF542D5188A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E3753F-24D7-5D7C-CB34-7763C0257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12</a:t>
            </a:fld>
            <a:endParaRPr lang="de-DE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D90175E9-3DDD-16A7-ED0A-AFAC68B34E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81100"/>
            <a:ext cx="10515600" cy="5175250"/>
          </a:xfrm>
          <a:gradFill>
            <a:gsLst>
              <a:gs pos="25000">
                <a:schemeClr val="tx2">
                  <a:lumMod val="50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/>
          <a:p>
            <a:pPr marL="914400" lvl="1" indent="-457200">
              <a:buFont typeface="+mj-lt"/>
              <a:buAutoNum type="arabicPeriod"/>
            </a:pPr>
            <a:r>
              <a:rPr lang="de-DE" sz="2800" b="1" dirty="0">
                <a:solidFill>
                  <a:schemeClr val="bg1"/>
                </a:solidFill>
              </a:rPr>
              <a:t>Parkausweisgenerierung-(2 Stunden)</a:t>
            </a:r>
          </a:p>
          <a:p>
            <a:pPr marL="457200" lvl="1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	Parkausweis für den/die ausgewählten Schüler generieren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1.1 QR-Code-Generierung-(3 Stunden)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       </a:t>
            </a:r>
            <a:r>
              <a:rPr lang="de-DE" sz="2800" dirty="0">
                <a:solidFill>
                  <a:schemeClr val="bg1"/>
                </a:solidFill>
              </a:rPr>
              <a:t>Generierung des QR-Codes mit einem hinterlegten Datensatz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1.1.1  QR-Code-Logik-(1 Stunde)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            </a:t>
            </a:r>
            <a:r>
              <a:rPr lang="de-DE" sz="2800" dirty="0">
                <a:solidFill>
                  <a:schemeClr val="bg1"/>
                </a:solidFill>
              </a:rPr>
              <a:t>Welcher Datensatz soll im QR-Code hinterlegt sein 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2.  Anbindung an den Drucker-(1 Stunde)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	</a:t>
            </a:r>
            <a:r>
              <a:rPr lang="de-DE" sz="2800" dirty="0">
                <a:solidFill>
                  <a:schemeClr val="bg1"/>
                </a:solidFill>
              </a:rPr>
              <a:t>Auswahl des Druckers an dem gedruckt werden soll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A382D05-3E47-D7C7-271A-5D7A8BC4CD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8296" y="337577"/>
            <a:ext cx="1657597" cy="8758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043111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A4350F-04D8-EF68-5546-987C1D6D4C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22811"/>
          </a:xfrm>
        </p:spPr>
        <p:txBody>
          <a:bodyPr/>
          <a:lstStyle/>
          <a:p>
            <a:r>
              <a:rPr lang="de-DE" b="1" dirty="0"/>
              <a:t>2.5 Druckfunkt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3E67034-DBD3-4C0A-4FE7-822871AE6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BC9E3-6ED6-4055-83A4-8AF542D5188A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E3753F-24D7-5D7C-CB34-7763C0257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13</a:t>
            </a:fld>
            <a:endParaRPr lang="de-DE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D90175E9-3DDD-16A7-ED0A-AFAC68B34E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81100"/>
            <a:ext cx="10515600" cy="5175250"/>
          </a:xfrm>
          <a:gradFill>
            <a:gsLst>
              <a:gs pos="25000">
                <a:schemeClr val="tx2">
                  <a:lumMod val="50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/>
          <a:p>
            <a:pPr marL="914400" lvl="1" indent="-457200">
              <a:buFont typeface="+mj-lt"/>
              <a:buAutoNum type="arabicPeriod"/>
            </a:pPr>
            <a:r>
              <a:rPr lang="de-DE" sz="2800" b="1" dirty="0">
                <a:solidFill>
                  <a:schemeClr val="bg1"/>
                </a:solidFill>
              </a:rPr>
              <a:t>Parkausweisgenerierung</a:t>
            </a:r>
          </a:p>
          <a:p>
            <a:pPr marL="457200" lvl="1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	Parkausweis für den/die ausgewählten Schüler generieren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1.1 QR-Code-Generierung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       </a:t>
            </a:r>
            <a:r>
              <a:rPr lang="de-DE" sz="2800" dirty="0">
                <a:solidFill>
                  <a:schemeClr val="bg1"/>
                </a:solidFill>
              </a:rPr>
              <a:t>Generierung des QR-Codes mit einem hinterlegten Datensatz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1.1.1  QR-Code-Logik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            </a:t>
            </a:r>
            <a:r>
              <a:rPr lang="de-DE" sz="2800" dirty="0">
                <a:solidFill>
                  <a:schemeClr val="bg1"/>
                </a:solidFill>
              </a:rPr>
              <a:t>Welcher Datensatz soll im QR-Code hinterlegt sein 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2.  Anbindung an den Drucker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	</a:t>
            </a:r>
            <a:r>
              <a:rPr lang="de-DE" sz="2800" dirty="0">
                <a:solidFill>
                  <a:schemeClr val="bg1"/>
                </a:solidFill>
              </a:rPr>
              <a:t>Auswahl des Druckers an dem gedruckt werden soll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A382D05-3E47-D7C7-271A-5D7A8BC4CD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8296" y="337577"/>
            <a:ext cx="1657597" cy="875848"/>
          </a:xfrm>
          <a:prstGeom prst="rect">
            <a:avLst/>
          </a:prstGeom>
          <a:noFill/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BFC7CB6-E745-165C-A208-1FDA48130D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181100"/>
            <a:ext cx="10496806" cy="5175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7207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A4350F-04D8-EF68-5546-987C1D6D4C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22811"/>
          </a:xfrm>
        </p:spPr>
        <p:txBody>
          <a:bodyPr/>
          <a:lstStyle/>
          <a:p>
            <a:r>
              <a:rPr lang="de-DE" b="1" dirty="0"/>
              <a:t>2.6 Rollen/Recht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3E67034-DBD3-4C0A-4FE7-822871AE6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BC9E3-6ED6-4055-83A4-8AF542D5188A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E3753F-24D7-5D7C-CB34-7763C0257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14</a:t>
            </a:fld>
            <a:endParaRPr lang="de-DE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D90175E9-3DDD-16A7-ED0A-AFAC68B34E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81100"/>
            <a:ext cx="10515600" cy="5175250"/>
          </a:xfrm>
          <a:gradFill>
            <a:gsLst>
              <a:gs pos="25000">
                <a:schemeClr val="tx2">
                  <a:lumMod val="50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5400000" scaled="1"/>
          </a:gradFill>
        </p:spPr>
        <p:txBody>
          <a:bodyPr/>
          <a:lstStyle/>
          <a:p>
            <a:pPr marL="914400" lvl="1" indent="-457200">
              <a:buFont typeface="+mj-lt"/>
              <a:buAutoNum type="arabicPeriod"/>
            </a:pPr>
            <a:r>
              <a:rPr lang="de-DE" sz="2800" b="1" dirty="0">
                <a:solidFill>
                  <a:schemeClr val="bg1"/>
                </a:solidFill>
              </a:rPr>
              <a:t>Login-Prozess-(3 Stunden)</a:t>
            </a:r>
          </a:p>
          <a:p>
            <a:pPr marL="457200" lvl="1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	Wer hat die Berechtigung sich anzumelden/ Wie lange bleibt       	man angemeldet?</a:t>
            </a:r>
          </a:p>
          <a:p>
            <a:pPr marL="914400" lvl="1" indent="-457200">
              <a:buAutoNum type="arabicPeriod" startAt="2"/>
            </a:pPr>
            <a:r>
              <a:rPr lang="de-DE" sz="2800" b="1" dirty="0">
                <a:solidFill>
                  <a:schemeClr val="bg1"/>
                </a:solidFill>
              </a:rPr>
              <a:t>Klassenansicht-(3 Stunden)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	</a:t>
            </a:r>
            <a:r>
              <a:rPr lang="de-DE" sz="2800" dirty="0">
                <a:solidFill>
                  <a:schemeClr val="bg1"/>
                </a:solidFill>
              </a:rPr>
              <a:t>Jeder Benutzer kann nur seine eigenen Klassen 	bearbeiten/anzeigen lassen</a:t>
            </a:r>
          </a:p>
          <a:p>
            <a:pPr marL="457200" lvl="1" indent="0">
              <a:buNone/>
            </a:pPr>
            <a:endParaRPr lang="de-DE" sz="2800" b="1" dirty="0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A382D05-3E47-D7C7-271A-5D7A8BC4CD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8296" y="337577"/>
            <a:ext cx="1657597" cy="875848"/>
          </a:xfrm>
          <a:prstGeom prst="rect">
            <a:avLst/>
          </a:prstGeom>
          <a:noFill/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39649D2D-3A60-3028-E439-C623BDDD90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6062" y="3932745"/>
            <a:ext cx="6619875" cy="2162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382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A4350F-04D8-EF68-5546-987C1D6D4C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22811"/>
          </a:xfrm>
        </p:spPr>
        <p:txBody>
          <a:bodyPr/>
          <a:lstStyle/>
          <a:p>
            <a:r>
              <a:rPr lang="de-DE" b="1" dirty="0"/>
              <a:t>2.7 Dokumentat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3E67034-DBD3-4C0A-4FE7-822871AE6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BC9E3-6ED6-4055-83A4-8AF542D5188A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E3753F-24D7-5D7C-CB34-7763C0257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15</a:t>
            </a:fld>
            <a:endParaRPr lang="de-DE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D90175E9-3DDD-16A7-ED0A-AFAC68B34E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81100"/>
            <a:ext cx="10515600" cy="5175250"/>
          </a:xfrm>
          <a:gradFill>
            <a:gsLst>
              <a:gs pos="25000">
                <a:schemeClr val="tx2">
                  <a:lumMod val="50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5400000" scaled="1"/>
          </a:gradFill>
        </p:spPr>
        <p:txBody>
          <a:bodyPr/>
          <a:lstStyle/>
          <a:p>
            <a:pPr marL="914400" lvl="1" indent="-457200">
              <a:buFont typeface="+mj-lt"/>
              <a:buAutoNum type="arabicPeriod"/>
            </a:pPr>
            <a:r>
              <a:rPr lang="de-DE" sz="2800" b="1" dirty="0" err="1">
                <a:solidFill>
                  <a:schemeClr val="bg1"/>
                </a:solidFill>
              </a:rPr>
              <a:t>Testingphase</a:t>
            </a:r>
            <a:r>
              <a:rPr lang="de-DE" sz="2800" b="1" dirty="0">
                <a:solidFill>
                  <a:schemeClr val="bg1"/>
                </a:solidFill>
              </a:rPr>
              <a:t>-(4 Stunden)</a:t>
            </a:r>
          </a:p>
          <a:p>
            <a:pPr marL="457200" lvl="1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	Anwendungsweite Tests um die einzelnen Komponenten der      	Anwendung zu prüfen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2.  Kundendokumentation-(2 Stunden)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	</a:t>
            </a:r>
            <a:r>
              <a:rPr lang="de-DE" sz="2800" dirty="0">
                <a:solidFill>
                  <a:schemeClr val="bg1"/>
                </a:solidFill>
              </a:rPr>
              <a:t>Aufarbeitung der einzelnen Arbeitsschritte für den Kund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A382D05-3E47-D7C7-271A-5D7A8BC4CD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8296" y="337577"/>
            <a:ext cx="1657597" cy="875848"/>
          </a:xfrm>
          <a:prstGeom prst="rect">
            <a:avLst/>
          </a:prstGeom>
          <a:noFill/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63BB385D-AF53-F384-DC52-FF327C0328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6062" y="3768725"/>
            <a:ext cx="6619875" cy="217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3356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A4350F-04D8-EF68-5546-987C1D6D4C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22811"/>
          </a:xfrm>
        </p:spPr>
        <p:txBody>
          <a:bodyPr/>
          <a:lstStyle/>
          <a:p>
            <a:r>
              <a:rPr lang="de-DE" b="1" dirty="0"/>
              <a:t>3. Zeitplanung/Gantt-Diagramm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3E67034-DBD3-4C0A-4FE7-822871AE6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BC9E3-6ED6-4055-83A4-8AF542D5188A}" type="datetime1">
              <a:rPr lang="de-DE" smtClean="0"/>
              <a:t>14.02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E3753F-24D7-5D7C-CB34-7763C0257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16</a:t>
            </a:fld>
            <a:endParaRPr lang="de-DE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D90175E9-3DDD-16A7-ED0A-AFAC68B34E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81100"/>
            <a:ext cx="10515600" cy="5175250"/>
          </a:xfrm>
          <a:gradFill>
            <a:gsLst>
              <a:gs pos="0">
                <a:schemeClr val="tx2">
                  <a:lumMod val="50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5400000" scaled="1"/>
          </a:gradFill>
        </p:spPr>
        <p:txBody>
          <a:bodyPr/>
          <a:lstStyle/>
          <a:p>
            <a:pPr marL="457200" lvl="1" indent="0">
              <a:buNone/>
            </a:pPr>
            <a:endParaRPr lang="de-DE" dirty="0">
              <a:solidFill>
                <a:schemeClr val="bg1"/>
              </a:solidFill>
            </a:endParaRP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A382D05-3E47-D7C7-271A-5D7A8BC4CD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8296" y="337577"/>
            <a:ext cx="1657597" cy="875848"/>
          </a:xfrm>
          <a:prstGeom prst="rect">
            <a:avLst/>
          </a:prstGeom>
          <a:noFill/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88F96DD-B6F2-EE37-D92F-F1F709D390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444" y="1181100"/>
            <a:ext cx="11929147" cy="5540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8897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A4350F-04D8-EF68-5546-987C1D6D4C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22811"/>
          </a:xfrm>
        </p:spPr>
        <p:txBody>
          <a:bodyPr/>
          <a:lstStyle/>
          <a:p>
            <a:r>
              <a:rPr lang="de-DE" b="1" dirty="0"/>
              <a:t>Glieder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3E67034-DBD3-4C0A-4FE7-822871AE6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BC9E3-6ED6-4055-83A4-8AF542D5188A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E3753F-24D7-5D7C-CB34-7763C0257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2</a:t>
            </a:fld>
            <a:endParaRPr lang="de-DE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D90175E9-3DDD-16A7-ED0A-AFAC68B34E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81100"/>
            <a:ext cx="10515600" cy="5175250"/>
          </a:xfrm>
          <a:gradFill>
            <a:gsLst>
              <a:gs pos="25000">
                <a:schemeClr val="tx2">
                  <a:lumMod val="50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5400000" scaled="1"/>
          </a:gradFill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de-DE" b="1" dirty="0">
                <a:solidFill>
                  <a:schemeClr val="bg1"/>
                </a:solidFill>
              </a:rPr>
              <a:t>Projektstrukturplan</a:t>
            </a:r>
          </a:p>
          <a:p>
            <a:pPr marL="514350" indent="-514350">
              <a:buFont typeface="+mj-lt"/>
              <a:buAutoNum type="arabicPeriod"/>
            </a:pPr>
            <a:r>
              <a:rPr lang="de-DE" b="1" dirty="0">
                <a:solidFill>
                  <a:schemeClr val="bg1"/>
                </a:solidFill>
              </a:rPr>
              <a:t>Arbeitspakete</a:t>
            </a:r>
          </a:p>
          <a:p>
            <a:pPr marL="971550" lvl="1" indent="-514350">
              <a:buFont typeface="+mj-lt"/>
              <a:buAutoNum type="arabicPeriod"/>
            </a:pPr>
            <a:r>
              <a:rPr lang="de-DE" b="1" dirty="0">
                <a:solidFill>
                  <a:schemeClr val="bg1"/>
                </a:solidFill>
              </a:rPr>
              <a:t>Datenbankverbindung</a:t>
            </a:r>
          </a:p>
          <a:p>
            <a:pPr marL="971550" lvl="1" indent="-514350">
              <a:buFont typeface="+mj-lt"/>
              <a:buAutoNum type="arabicPeriod"/>
            </a:pPr>
            <a:r>
              <a:rPr lang="de-DE" b="1" dirty="0">
                <a:solidFill>
                  <a:schemeClr val="bg1"/>
                </a:solidFill>
              </a:rPr>
              <a:t>Parkausweistemplate</a:t>
            </a:r>
          </a:p>
          <a:p>
            <a:pPr marL="971550" lvl="1" indent="-514350">
              <a:buFont typeface="+mj-lt"/>
              <a:buAutoNum type="arabicPeriod"/>
            </a:pPr>
            <a:r>
              <a:rPr lang="de-DE" b="1" dirty="0">
                <a:solidFill>
                  <a:schemeClr val="bg1"/>
                </a:solidFill>
              </a:rPr>
              <a:t>Oberfläche</a:t>
            </a:r>
          </a:p>
          <a:p>
            <a:pPr marL="1428750" lvl="2" indent="-514350">
              <a:buFont typeface="+mj-lt"/>
              <a:buAutoNum type="arabicPeriod"/>
            </a:pPr>
            <a:r>
              <a:rPr lang="de-DE" b="1" dirty="0">
                <a:solidFill>
                  <a:schemeClr val="bg1"/>
                </a:solidFill>
              </a:rPr>
              <a:t>Beispiel Mockup</a:t>
            </a:r>
          </a:p>
          <a:p>
            <a:pPr marL="971550" lvl="1" indent="-514350">
              <a:buFont typeface="+mj-lt"/>
              <a:buAutoNum type="arabicPeriod"/>
            </a:pPr>
            <a:r>
              <a:rPr lang="de-DE" b="1" dirty="0">
                <a:solidFill>
                  <a:schemeClr val="bg1"/>
                </a:solidFill>
              </a:rPr>
              <a:t>Funktionen</a:t>
            </a:r>
          </a:p>
          <a:p>
            <a:pPr marL="971550" lvl="1" indent="-514350">
              <a:buFont typeface="+mj-lt"/>
              <a:buAutoNum type="arabicPeriod"/>
            </a:pPr>
            <a:r>
              <a:rPr lang="de-DE" b="1" dirty="0">
                <a:solidFill>
                  <a:schemeClr val="bg1"/>
                </a:solidFill>
              </a:rPr>
              <a:t>Druckfunktion</a:t>
            </a:r>
          </a:p>
          <a:p>
            <a:pPr marL="971550" lvl="1" indent="-514350">
              <a:buFont typeface="+mj-lt"/>
              <a:buAutoNum type="arabicPeriod"/>
            </a:pPr>
            <a:r>
              <a:rPr lang="de-DE" b="1" dirty="0">
                <a:solidFill>
                  <a:schemeClr val="bg1"/>
                </a:solidFill>
              </a:rPr>
              <a:t>Rollen/Rechte</a:t>
            </a:r>
          </a:p>
          <a:p>
            <a:pPr marL="971550" lvl="1" indent="-514350">
              <a:buFont typeface="+mj-lt"/>
              <a:buAutoNum type="arabicPeriod"/>
            </a:pPr>
            <a:r>
              <a:rPr lang="de-DE" b="1">
                <a:solidFill>
                  <a:schemeClr val="bg1"/>
                </a:solidFill>
              </a:rPr>
              <a:t>Dokumentation</a:t>
            </a:r>
            <a:endParaRPr lang="de-DE" b="1" dirty="0">
              <a:solidFill>
                <a:schemeClr val="bg1"/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de-DE" b="1" dirty="0">
                <a:solidFill>
                  <a:schemeClr val="bg1"/>
                </a:solidFill>
              </a:rPr>
              <a:t>Zeitplanung/Gantt-Diagramm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A382D05-3E47-D7C7-271A-5D7A8BC4CD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8296" y="337577"/>
            <a:ext cx="1657597" cy="8758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544583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51188" y="1540587"/>
            <a:ext cx="10899896" cy="4684817"/>
          </a:xfrm>
        </p:spPr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1E1E7AC-A71A-0679-D7CB-981BB596F74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8296" y="337577"/>
            <a:ext cx="1657597" cy="875848"/>
          </a:xfrm>
          <a:prstGeom prst="rect">
            <a:avLst/>
          </a:prstGeom>
          <a:noFill/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20285CF7-C5E3-6D66-8168-256ECB6A67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6168024"/>
              </p:ext>
            </p:extLst>
          </p:nvPr>
        </p:nvGraphicFramePr>
        <p:xfrm>
          <a:off x="126815" y="1213424"/>
          <a:ext cx="11964922" cy="55242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8" name="Titel 2">
            <a:extLst>
              <a:ext uri="{FF2B5EF4-FFF2-40B4-BE49-F238E27FC236}">
                <a16:creationId xmlns:a16="http://schemas.microsoft.com/office/drawing/2014/main" id="{1BFF0858-122D-59B6-10DE-8A899B189F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1"/>
            <a:ext cx="11225213" cy="736600"/>
          </a:xfrm>
        </p:spPr>
        <p:txBody>
          <a:bodyPr>
            <a:normAutofit fontScale="90000"/>
          </a:bodyPr>
          <a:lstStyle/>
          <a:p>
            <a:br>
              <a:rPr lang="de-DE" dirty="0"/>
            </a:br>
            <a:r>
              <a:rPr lang="de-DE" b="1" dirty="0"/>
              <a:t>1.Projektstrukturplan</a:t>
            </a:r>
          </a:p>
        </p:txBody>
      </p:sp>
    </p:spTree>
    <p:extLst>
      <p:ext uri="{BB962C8B-B14F-4D97-AF65-F5344CB8AC3E}">
        <p14:creationId xmlns:p14="http://schemas.microsoft.com/office/powerpoint/2010/main" val="14410696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A4350F-04D8-EF68-5546-987C1D6D4C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22811"/>
          </a:xfrm>
        </p:spPr>
        <p:txBody>
          <a:bodyPr/>
          <a:lstStyle/>
          <a:p>
            <a:r>
              <a:rPr lang="de-DE" b="1" dirty="0"/>
              <a:t>2.1 Datenbankverbind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3E67034-DBD3-4C0A-4FE7-822871AE6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BC9E3-6ED6-4055-83A4-8AF542D5188A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E3753F-24D7-5D7C-CB34-7763C0257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4</a:t>
            </a:fld>
            <a:endParaRPr lang="de-DE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D90175E9-3DDD-16A7-ED0A-AFAC68B34E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81100"/>
            <a:ext cx="10515600" cy="5175250"/>
          </a:xfrm>
          <a:gradFill>
            <a:gsLst>
              <a:gs pos="25000">
                <a:schemeClr val="tx2">
                  <a:lumMod val="50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5400000" scaled="1"/>
          </a:gradFill>
        </p:spPr>
        <p:txBody>
          <a:bodyPr/>
          <a:lstStyle/>
          <a:p>
            <a:pPr marL="914400" lvl="1" indent="-457200">
              <a:buFont typeface="+mj-lt"/>
              <a:buAutoNum type="arabicPeriod"/>
            </a:pPr>
            <a:r>
              <a:rPr lang="de-DE" sz="2800" b="1" dirty="0" err="1">
                <a:solidFill>
                  <a:schemeClr val="bg1"/>
                </a:solidFill>
              </a:rPr>
              <a:t>Implemetierung</a:t>
            </a:r>
            <a:r>
              <a:rPr lang="de-DE" sz="2800" b="1" dirty="0">
                <a:solidFill>
                  <a:schemeClr val="bg1"/>
                </a:solidFill>
              </a:rPr>
              <a:t> psycopg2-(1 Stunde)</a:t>
            </a:r>
          </a:p>
          <a:p>
            <a:pPr marL="457200" lvl="1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	Python-Bibliothek zur Anbindung an PostgreSQL-Datenbanken</a:t>
            </a:r>
          </a:p>
          <a:p>
            <a:pPr marL="914400" lvl="1" indent="-457200">
              <a:buAutoNum type="arabicPeriod" startAt="2"/>
            </a:pPr>
            <a:r>
              <a:rPr lang="de-DE" sz="2800" b="1" dirty="0">
                <a:solidFill>
                  <a:schemeClr val="bg1"/>
                </a:solidFill>
              </a:rPr>
              <a:t>Projekteinstellungen konfigurieren-(2 Stunden)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	</a:t>
            </a:r>
            <a:r>
              <a:rPr lang="de-DE" sz="2800" dirty="0">
                <a:solidFill>
                  <a:schemeClr val="bg1"/>
                </a:solidFill>
              </a:rPr>
              <a:t>Konfigurationsdatei und Aufteilung in Django-	Komponenten(Apps)</a:t>
            </a:r>
          </a:p>
          <a:p>
            <a:pPr marL="914400" lvl="1" indent="-457200">
              <a:buAutoNum type="arabicPeriod" startAt="3"/>
            </a:pPr>
            <a:r>
              <a:rPr lang="de-DE" sz="2800" b="1" dirty="0">
                <a:solidFill>
                  <a:schemeClr val="bg1"/>
                </a:solidFill>
              </a:rPr>
              <a:t>Tabellen modellieren-(1 Stunde)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	</a:t>
            </a:r>
            <a:r>
              <a:rPr lang="de-DE" sz="2800" b="0" i="0" dirty="0">
                <a:solidFill>
                  <a:schemeClr val="bg1"/>
                </a:solidFill>
                <a:effectLst/>
              </a:rPr>
              <a:t>Definieren der Struktur und Beziehungen von Daten in einer 	PostgreSQL-	Datenbank</a:t>
            </a:r>
            <a:endParaRPr lang="de-DE" sz="2800" b="1" dirty="0">
              <a:solidFill>
                <a:schemeClr val="bg1"/>
              </a:solidFill>
            </a:endParaRPr>
          </a:p>
          <a:p>
            <a:pPr marL="457200" lvl="1" indent="0">
              <a:buNone/>
            </a:pPr>
            <a:endParaRPr lang="de-DE" sz="2400" b="1" dirty="0">
              <a:solidFill>
                <a:schemeClr val="bg1"/>
              </a:solidFill>
            </a:endParaRPr>
          </a:p>
          <a:p>
            <a:pPr marL="457200" lvl="1" indent="0">
              <a:buNone/>
            </a:pPr>
            <a:endParaRPr lang="de-DE" dirty="0">
              <a:solidFill>
                <a:schemeClr val="bg1"/>
              </a:solidFill>
            </a:endParaRP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A382D05-3E47-D7C7-271A-5D7A8BC4CD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8296" y="337577"/>
            <a:ext cx="1657597" cy="8758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972504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A4350F-04D8-EF68-5546-987C1D6D4C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22811"/>
          </a:xfrm>
        </p:spPr>
        <p:txBody>
          <a:bodyPr/>
          <a:lstStyle/>
          <a:p>
            <a:r>
              <a:rPr lang="de-DE" b="1" dirty="0"/>
              <a:t>2.1 Datenbankverbind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3E67034-DBD3-4C0A-4FE7-822871AE6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BC9E3-6ED6-4055-83A4-8AF542D5188A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E3753F-24D7-5D7C-CB34-7763C0257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5</a:t>
            </a:fld>
            <a:endParaRPr lang="de-DE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D90175E9-3DDD-16A7-ED0A-AFAC68B34E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81100"/>
            <a:ext cx="10515600" cy="5175250"/>
          </a:xfrm>
          <a:gradFill>
            <a:gsLst>
              <a:gs pos="25000">
                <a:schemeClr val="tx2">
                  <a:lumMod val="50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5400000" scaled="1"/>
          </a:gradFill>
        </p:spPr>
        <p:txBody>
          <a:bodyPr/>
          <a:lstStyle/>
          <a:p>
            <a:pPr marL="914400" lvl="1" indent="-457200">
              <a:buFont typeface="+mj-lt"/>
              <a:buAutoNum type="arabicPeriod"/>
            </a:pPr>
            <a:r>
              <a:rPr lang="de-DE" sz="2800" b="1" dirty="0" err="1">
                <a:solidFill>
                  <a:schemeClr val="bg1"/>
                </a:solidFill>
              </a:rPr>
              <a:t>Implemetierung</a:t>
            </a:r>
            <a:r>
              <a:rPr lang="de-DE" sz="2800" b="1" dirty="0">
                <a:solidFill>
                  <a:schemeClr val="bg1"/>
                </a:solidFill>
              </a:rPr>
              <a:t> psycopg2</a:t>
            </a:r>
          </a:p>
          <a:p>
            <a:pPr marL="457200" lvl="1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	Python-Bibliothek zur Anbindung an PostgreSQL-Datenbanken</a:t>
            </a:r>
          </a:p>
          <a:p>
            <a:pPr marL="914400" lvl="1" indent="-457200">
              <a:buAutoNum type="arabicPeriod" startAt="2"/>
            </a:pPr>
            <a:r>
              <a:rPr lang="de-DE" sz="2800" b="1" dirty="0">
                <a:solidFill>
                  <a:schemeClr val="bg1"/>
                </a:solidFill>
              </a:rPr>
              <a:t>Projekteinstellungen konfigurieren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	</a:t>
            </a:r>
            <a:r>
              <a:rPr lang="de-DE" sz="2800" dirty="0">
                <a:solidFill>
                  <a:schemeClr val="bg1"/>
                </a:solidFill>
              </a:rPr>
              <a:t>Konfigurationsdatei und Aufteilung in Django-	Komponenten(Apps)</a:t>
            </a:r>
          </a:p>
          <a:p>
            <a:pPr marL="914400" lvl="1" indent="-457200">
              <a:buAutoNum type="arabicPeriod" startAt="3"/>
            </a:pPr>
            <a:r>
              <a:rPr lang="de-DE" sz="2800" b="1" dirty="0">
                <a:solidFill>
                  <a:schemeClr val="bg1"/>
                </a:solidFill>
              </a:rPr>
              <a:t>Tabellen modellieren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	</a:t>
            </a:r>
            <a:r>
              <a:rPr lang="de-DE" sz="2800" b="0" i="0" dirty="0">
                <a:solidFill>
                  <a:schemeClr val="bg1"/>
                </a:solidFill>
                <a:effectLst/>
              </a:rPr>
              <a:t>Definieren der Struktur und Beziehungen von Daten in einer 	PostgreSQL-	Datenbank</a:t>
            </a:r>
            <a:endParaRPr lang="de-DE" sz="2800" b="1" dirty="0">
              <a:solidFill>
                <a:schemeClr val="bg1"/>
              </a:solidFill>
            </a:endParaRPr>
          </a:p>
          <a:p>
            <a:pPr marL="457200" lvl="1" indent="0">
              <a:buNone/>
            </a:pPr>
            <a:endParaRPr lang="de-DE" sz="2400" b="1" dirty="0">
              <a:solidFill>
                <a:schemeClr val="bg1"/>
              </a:solidFill>
            </a:endParaRPr>
          </a:p>
          <a:p>
            <a:pPr marL="457200" lvl="1" indent="0">
              <a:buNone/>
            </a:pPr>
            <a:endParaRPr lang="de-DE" dirty="0">
              <a:solidFill>
                <a:schemeClr val="bg1"/>
              </a:solidFill>
            </a:endParaRP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A382D05-3E47-D7C7-271A-5D7A8BC4CD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8296" y="337577"/>
            <a:ext cx="1657597" cy="875848"/>
          </a:xfrm>
          <a:prstGeom prst="rect">
            <a:avLst/>
          </a:prstGeom>
          <a:noFill/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403A54B-EF01-4630-DDB5-515E7019EC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199" y="1149007"/>
            <a:ext cx="10515599" cy="5239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6419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A4350F-04D8-EF68-5546-987C1D6D4C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22811"/>
          </a:xfrm>
        </p:spPr>
        <p:txBody>
          <a:bodyPr/>
          <a:lstStyle/>
          <a:p>
            <a:r>
              <a:rPr lang="de-DE" b="1" dirty="0"/>
              <a:t>2.2Parkausweistemplat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3E67034-DBD3-4C0A-4FE7-822871AE6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BC9E3-6ED6-4055-83A4-8AF542D5188A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E3753F-24D7-5D7C-CB34-7763C0257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6</a:t>
            </a:fld>
            <a:endParaRPr lang="de-DE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D90175E9-3DDD-16A7-ED0A-AFAC68B34E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81100"/>
            <a:ext cx="10515600" cy="5175250"/>
          </a:xfrm>
          <a:gradFill>
            <a:gsLst>
              <a:gs pos="25000">
                <a:schemeClr val="tx2">
                  <a:lumMod val="50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5400000" scaled="1"/>
          </a:gradFill>
        </p:spPr>
        <p:txBody>
          <a:bodyPr/>
          <a:lstStyle/>
          <a:p>
            <a:pPr marL="914400" lvl="1" indent="-457200">
              <a:buAutoNum type="arabicPeriod"/>
            </a:pPr>
            <a:r>
              <a:rPr lang="de-DE" sz="2800" b="1" dirty="0">
                <a:solidFill>
                  <a:schemeClr val="bg1"/>
                </a:solidFill>
              </a:rPr>
              <a:t>Konzeptionierung des Designs-(2 Stunden)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	</a:t>
            </a:r>
            <a:r>
              <a:rPr lang="de-DE" sz="2800" dirty="0">
                <a:solidFill>
                  <a:schemeClr val="bg1"/>
                </a:solidFill>
              </a:rPr>
              <a:t>Wie sehen die einzelnen Designelemente aus und wohin 	kommen sie?</a:t>
            </a:r>
          </a:p>
          <a:p>
            <a:pPr marL="457200" lvl="1" indent="0">
              <a:buNone/>
            </a:pPr>
            <a:endParaRPr lang="de-DE" dirty="0">
              <a:solidFill>
                <a:schemeClr val="bg1"/>
              </a:solidFill>
            </a:endParaRP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A382D05-3E47-D7C7-271A-5D7A8BC4CD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8296" y="337577"/>
            <a:ext cx="1657597" cy="875848"/>
          </a:xfrm>
          <a:prstGeom prst="rect">
            <a:avLst/>
          </a:prstGeom>
          <a:noFill/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3CD4F7D2-8BF1-7707-4585-911A7A7CE0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2841" y="3326386"/>
            <a:ext cx="5477759" cy="1944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2749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A4350F-04D8-EF68-5546-987C1D6D4C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22811"/>
          </a:xfrm>
        </p:spPr>
        <p:txBody>
          <a:bodyPr/>
          <a:lstStyle/>
          <a:p>
            <a:r>
              <a:rPr lang="de-DE" b="1" dirty="0"/>
              <a:t>2.3 Oberfläch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3E67034-DBD3-4C0A-4FE7-822871AE6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BC9E3-6ED6-4055-83A4-8AF542D5188A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E3753F-24D7-5D7C-CB34-7763C0257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7</a:t>
            </a:fld>
            <a:endParaRPr lang="de-DE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D90175E9-3DDD-16A7-ED0A-AFAC68B34E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81100"/>
            <a:ext cx="10515600" cy="5175250"/>
          </a:xfrm>
          <a:gradFill>
            <a:gsLst>
              <a:gs pos="25000">
                <a:schemeClr val="tx2">
                  <a:lumMod val="50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5400000" scaled="1"/>
          </a:gradFill>
        </p:spPr>
        <p:txBody>
          <a:bodyPr/>
          <a:lstStyle/>
          <a:p>
            <a:pPr marL="914400" lvl="1" indent="-457200">
              <a:buFont typeface="+mj-lt"/>
              <a:buAutoNum type="arabicPeriod"/>
            </a:pPr>
            <a:r>
              <a:rPr lang="de-DE" sz="2800" b="1" dirty="0" err="1">
                <a:solidFill>
                  <a:schemeClr val="bg1"/>
                </a:solidFill>
              </a:rPr>
              <a:t>Loginmaske</a:t>
            </a:r>
            <a:r>
              <a:rPr lang="de-DE" sz="2800" b="1" dirty="0">
                <a:solidFill>
                  <a:schemeClr val="bg1"/>
                </a:solidFill>
              </a:rPr>
              <a:t>-(2 Stunden)</a:t>
            </a:r>
          </a:p>
          <a:p>
            <a:pPr marL="457200" lvl="1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	Anmeldung der Benutzer</a:t>
            </a:r>
          </a:p>
          <a:p>
            <a:pPr marL="914400" lvl="1" indent="-457200">
              <a:buAutoNum type="arabicPeriod" startAt="2"/>
            </a:pPr>
            <a:r>
              <a:rPr lang="de-DE" sz="2800" b="1" dirty="0">
                <a:solidFill>
                  <a:schemeClr val="bg1"/>
                </a:solidFill>
              </a:rPr>
              <a:t>Passwort vergessen-Seite-(1 Stunde)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	</a:t>
            </a:r>
            <a:r>
              <a:rPr lang="de-DE" sz="2800" dirty="0" err="1">
                <a:solidFill>
                  <a:schemeClr val="bg1"/>
                </a:solidFill>
              </a:rPr>
              <a:t>Seperate</a:t>
            </a:r>
            <a:r>
              <a:rPr lang="de-DE" sz="2800" dirty="0">
                <a:solidFill>
                  <a:schemeClr val="bg1"/>
                </a:solidFill>
              </a:rPr>
              <a:t> Seite zum Zurücksetzen des Passworts</a:t>
            </a:r>
          </a:p>
          <a:p>
            <a:pPr marL="914400" lvl="1" indent="-457200">
              <a:buAutoNum type="arabicPeriod" startAt="3"/>
            </a:pPr>
            <a:r>
              <a:rPr lang="de-DE" sz="2800" b="1" dirty="0" err="1">
                <a:solidFill>
                  <a:schemeClr val="bg1"/>
                </a:solidFill>
              </a:rPr>
              <a:t>Overview</a:t>
            </a:r>
            <a:r>
              <a:rPr lang="de-DE" sz="2800" b="1" dirty="0">
                <a:solidFill>
                  <a:schemeClr val="bg1"/>
                </a:solidFill>
              </a:rPr>
              <a:t> mit Schülerdaten-(5 Stunden)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	</a:t>
            </a:r>
            <a:r>
              <a:rPr lang="de-DE" sz="2800" dirty="0">
                <a:solidFill>
                  <a:schemeClr val="bg1"/>
                </a:solidFill>
              </a:rPr>
              <a:t>Tabellenansicht mit Klassendaten</a:t>
            </a:r>
            <a:endParaRPr lang="de-DE" dirty="0"/>
          </a:p>
          <a:p>
            <a:pPr marL="971550" lvl="1" indent="-514350">
              <a:buAutoNum type="arabicPeriod" startAt="4"/>
            </a:pPr>
            <a:r>
              <a:rPr lang="de-DE" sz="2800" b="1" dirty="0">
                <a:solidFill>
                  <a:schemeClr val="bg1"/>
                </a:solidFill>
              </a:rPr>
              <a:t>Popup für Bearbeitung der Daten-(4 Stunden)</a:t>
            </a:r>
            <a:endParaRPr lang="de-DE" sz="2800" dirty="0"/>
          </a:p>
          <a:p>
            <a:pPr marL="457200" lvl="1" indent="0">
              <a:buNone/>
            </a:pPr>
            <a:r>
              <a:rPr lang="de-DE" sz="2800" dirty="0"/>
              <a:t>	</a:t>
            </a:r>
            <a:r>
              <a:rPr lang="de-DE" sz="2800" dirty="0">
                <a:solidFill>
                  <a:schemeClr val="bg1"/>
                </a:solidFill>
              </a:rPr>
              <a:t>Möglichkeit zur Eingabe, Aktualisierung oder Löschung von 	Da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A382D05-3E47-D7C7-271A-5D7A8BC4CD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8296" y="337577"/>
            <a:ext cx="1657597" cy="8758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410247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A4350F-04D8-EF68-5546-987C1D6D4C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22811"/>
          </a:xfrm>
        </p:spPr>
        <p:txBody>
          <a:bodyPr/>
          <a:lstStyle/>
          <a:p>
            <a:r>
              <a:rPr lang="de-DE" b="1" dirty="0"/>
              <a:t>2.3 Oberfläch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3E67034-DBD3-4C0A-4FE7-822871AE6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BC9E3-6ED6-4055-83A4-8AF542D5188A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E3753F-24D7-5D7C-CB34-7763C0257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8</a:t>
            </a:fld>
            <a:endParaRPr lang="de-DE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D90175E9-3DDD-16A7-ED0A-AFAC68B34E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81100"/>
            <a:ext cx="10515600" cy="5175250"/>
          </a:xfrm>
          <a:gradFill>
            <a:gsLst>
              <a:gs pos="25000">
                <a:schemeClr val="tx2">
                  <a:lumMod val="50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5400000" scaled="1"/>
          </a:gradFill>
        </p:spPr>
        <p:txBody>
          <a:bodyPr/>
          <a:lstStyle/>
          <a:p>
            <a:pPr marL="914400" lvl="1" indent="-457200">
              <a:buFont typeface="+mj-lt"/>
              <a:buAutoNum type="arabicPeriod"/>
            </a:pPr>
            <a:r>
              <a:rPr lang="de-DE" sz="2800" b="1" dirty="0" err="1">
                <a:solidFill>
                  <a:schemeClr val="bg1"/>
                </a:solidFill>
              </a:rPr>
              <a:t>Loginmaske</a:t>
            </a:r>
            <a:endParaRPr lang="de-DE" sz="2800" b="1" dirty="0">
              <a:solidFill>
                <a:schemeClr val="bg1"/>
              </a:solidFill>
            </a:endParaRPr>
          </a:p>
          <a:p>
            <a:pPr marL="457200" lvl="1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	Anmeldung der Benutzer</a:t>
            </a:r>
          </a:p>
          <a:p>
            <a:pPr marL="914400" lvl="1" indent="-457200">
              <a:buAutoNum type="arabicPeriod" startAt="2"/>
            </a:pPr>
            <a:r>
              <a:rPr lang="de-DE" sz="2800" b="1" dirty="0">
                <a:solidFill>
                  <a:schemeClr val="bg1"/>
                </a:solidFill>
              </a:rPr>
              <a:t>Passwort vergessen-Seite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	</a:t>
            </a:r>
            <a:r>
              <a:rPr lang="de-DE" sz="2800" dirty="0" err="1">
                <a:solidFill>
                  <a:schemeClr val="bg1"/>
                </a:solidFill>
              </a:rPr>
              <a:t>Seperate</a:t>
            </a:r>
            <a:r>
              <a:rPr lang="de-DE" sz="2800" dirty="0">
                <a:solidFill>
                  <a:schemeClr val="bg1"/>
                </a:solidFill>
              </a:rPr>
              <a:t> Seite zum Zurücksetzen des Passworts</a:t>
            </a:r>
          </a:p>
          <a:p>
            <a:pPr marL="914400" lvl="1" indent="-457200">
              <a:buAutoNum type="arabicPeriod" startAt="3"/>
            </a:pPr>
            <a:r>
              <a:rPr lang="de-DE" sz="2800" b="1" dirty="0" err="1">
                <a:solidFill>
                  <a:schemeClr val="bg1"/>
                </a:solidFill>
              </a:rPr>
              <a:t>Overview</a:t>
            </a:r>
            <a:r>
              <a:rPr lang="de-DE" sz="2800" b="1" dirty="0">
                <a:solidFill>
                  <a:schemeClr val="bg1"/>
                </a:solidFill>
              </a:rPr>
              <a:t> mit Schülerdaten</a:t>
            </a:r>
          </a:p>
          <a:p>
            <a:pPr marL="457200" lvl="1" indent="0">
              <a:buNone/>
            </a:pPr>
            <a:r>
              <a:rPr lang="de-DE" sz="2800" b="1" dirty="0">
                <a:solidFill>
                  <a:schemeClr val="bg1"/>
                </a:solidFill>
              </a:rPr>
              <a:t>	</a:t>
            </a:r>
            <a:r>
              <a:rPr lang="de-DE" sz="2800" dirty="0">
                <a:solidFill>
                  <a:schemeClr val="bg1"/>
                </a:solidFill>
              </a:rPr>
              <a:t>Tabellenansicht mit Klassendaten</a:t>
            </a:r>
            <a:endParaRPr lang="de-DE" dirty="0"/>
          </a:p>
          <a:p>
            <a:pPr marL="971550" lvl="1" indent="-514350">
              <a:buAutoNum type="arabicPeriod" startAt="4"/>
            </a:pPr>
            <a:r>
              <a:rPr lang="de-DE" sz="2800" b="1" dirty="0">
                <a:solidFill>
                  <a:schemeClr val="bg1"/>
                </a:solidFill>
              </a:rPr>
              <a:t>Popup für Bearbeitung der Daten</a:t>
            </a:r>
            <a:r>
              <a:rPr lang="de-DE" sz="2800" dirty="0"/>
              <a:t> </a:t>
            </a:r>
          </a:p>
          <a:p>
            <a:pPr marL="457200" lvl="1" indent="0">
              <a:buNone/>
            </a:pPr>
            <a:r>
              <a:rPr lang="de-DE" sz="2800" dirty="0"/>
              <a:t>	</a:t>
            </a:r>
            <a:r>
              <a:rPr lang="de-DE" sz="2800" dirty="0">
                <a:solidFill>
                  <a:schemeClr val="bg1"/>
                </a:solidFill>
              </a:rPr>
              <a:t>Möglichkeit zur Eingabe, Aktualisierung oder Löschung von 	Da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A382D05-3E47-D7C7-271A-5D7A8BC4CD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8296" y="337577"/>
            <a:ext cx="1657597" cy="875848"/>
          </a:xfrm>
          <a:prstGeom prst="rect">
            <a:avLst/>
          </a:prstGeom>
          <a:noFill/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613EB1F8-E6EB-653C-D862-43738FB247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181099"/>
            <a:ext cx="10506820" cy="5175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4965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A4350F-04D8-EF68-5546-987C1D6D4C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22811"/>
          </a:xfrm>
        </p:spPr>
        <p:txBody>
          <a:bodyPr/>
          <a:lstStyle/>
          <a:p>
            <a:r>
              <a:rPr lang="de-DE" b="1" dirty="0"/>
              <a:t>2.3.1 Oberflächen Mockup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3E67034-DBD3-4C0A-4FE7-822871AE6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BC9E3-6ED6-4055-83A4-8AF542D5188A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E3753F-24D7-5D7C-CB34-7763C0257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8219E-C001-4D8D-A2D4-F2D6EB509011}" type="slidenum">
              <a:rPr lang="de-DE" smtClean="0"/>
              <a:t>9</a:t>
            </a:fld>
            <a:endParaRPr lang="de-DE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D90175E9-3DDD-16A7-ED0A-AFAC68B34E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81100"/>
            <a:ext cx="10515600" cy="5175250"/>
          </a:xfrm>
          <a:gradFill>
            <a:gsLst>
              <a:gs pos="0">
                <a:schemeClr val="tx2">
                  <a:lumMod val="50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5400000" scaled="1"/>
          </a:gradFill>
        </p:spPr>
        <p:txBody>
          <a:bodyPr/>
          <a:lstStyle/>
          <a:p>
            <a:pPr marL="457200" lvl="1" indent="0">
              <a:buNone/>
            </a:pPr>
            <a:endParaRPr lang="de-DE" dirty="0">
              <a:solidFill>
                <a:schemeClr val="bg1"/>
              </a:solidFill>
            </a:endParaRP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A382D05-3E47-D7C7-271A-5D7A8BC4CD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8296" y="337577"/>
            <a:ext cx="1657597" cy="875848"/>
          </a:xfrm>
          <a:prstGeom prst="rect">
            <a:avLst/>
          </a:prstGeom>
          <a:noFill/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A36F7812-D3C5-51CB-55B0-3DB31A821B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333" y="1157786"/>
            <a:ext cx="10906125" cy="5198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7629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72</Words>
  <Application>Microsoft Office PowerPoint</Application>
  <PresentationFormat>Breitbild</PresentationFormat>
  <Paragraphs>169</Paragraphs>
  <Slides>16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2" baseType="lpstr">
      <vt:lpstr>Arial</vt:lpstr>
      <vt:lpstr>BMWGroupTN Condensed</vt:lpstr>
      <vt:lpstr>Calibri</vt:lpstr>
      <vt:lpstr>Calibri Light</vt:lpstr>
      <vt:lpstr>Office</vt:lpstr>
      <vt:lpstr>think-cell Folie</vt:lpstr>
      <vt:lpstr>Meilenstein 2: Projektstrukturplan, Arbeitspakete &amp; Zeitplan</vt:lpstr>
      <vt:lpstr>Gliederung</vt:lpstr>
      <vt:lpstr> 1.Projektstrukturplan</vt:lpstr>
      <vt:lpstr>2.1 Datenbankverbindung</vt:lpstr>
      <vt:lpstr>2.1 Datenbankverbindung</vt:lpstr>
      <vt:lpstr>2.2Parkausweistemplate</vt:lpstr>
      <vt:lpstr>2.3 Oberfläche</vt:lpstr>
      <vt:lpstr>2.3 Oberfläche</vt:lpstr>
      <vt:lpstr>2.3.1 Oberflächen Mockup</vt:lpstr>
      <vt:lpstr>2.4 Funktionen</vt:lpstr>
      <vt:lpstr>2.4 Funktionen</vt:lpstr>
      <vt:lpstr>2.5 Druckfunktion</vt:lpstr>
      <vt:lpstr>2.5 Druckfunktion</vt:lpstr>
      <vt:lpstr>2.6 Rollen/Rechte</vt:lpstr>
      <vt:lpstr>2.7 Dokumentation</vt:lpstr>
      <vt:lpstr>3. Zeitplanung/Gantt-Diagram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ilenstein 2: pflichtenheft &amp; ANGEBOT</dc:title>
  <dc:creator>Knobel Sebastian, TU-65</dc:creator>
  <cp:lastModifiedBy>Sebastian</cp:lastModifiedBy>
  <cp:revision>9</cp:revision>
  <dcterms:created xsi:type="dcterms:W3CDTF">2023-02-12T22:57:46Z</dcterms:created>
  <dcterms:modified xsi:type="dcterms:W3CDTF">2023-02-14T08:30:31Z</dcterms:modified>
</cp:coreProperties>
</file>